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4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media/image32.jpg" ContentType="image/jpg"/>
  <Override PartName="/ppt/media/image33.jpg" ContentType="image/jpg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76.xml" ContentType="application/vnd.openxmlformats-officedocument.presentationml.tags+xml"/>
  <Override PartName="/ppt/tags/tag40.xml" ContentType="application/vnd.openxmlformats-officedocument.presentationml.tags+xml"/>
  <Override PartName="/ppt/tags/tag21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63.xml" ContentType="application/vnd.openxmlformats-officedocument.presentationml.tags+xml"/>
  <Override PartName="/ppt/tags/tag22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62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60.xml" ContentType="application/vnd.openxmlformats-officedocument.presentationml.tags+xml"/>
  <Override PartName="/ppt/tags/tag28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29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82.xml" ContentType="application/vnd.openxmlformats-officedocument.presentationml.tags+xml"/>
  <Override PartName="/ppt/tags/tag32.xml" ContentType="application/vnd.openxmlformats-officedocument.presentationml.tags+xml"/>
  <Override PartName="/ppt/tags/tag83.xml" ContentType="application/vnd.openxmlformats-officedocument.presentationml.tags+xml"/>
  <Override PartName="/ppt/tags/tag33.xml" ContentType="application/vnd.openxmlformats-officedocument.presentationml.tags+xml"/>
  <Override PartName="/ppt/tags/tag84.xml" ContentType="application/vnd.openxmlformats-officedocument.presentationml.tags+xml"/>
  <Override PartName="/ppt/tags/tag34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5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35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67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93" r:id="rId3"/>
    <p:sldMasterId id="2147483698" r:id="rId4"/>
    <p:sldMasterId id="2147483703" r:id="rId5"/>
  </p:sldMasterIdLst>
  <p:notesMasterIdLst>
    <p:notesMasterId r:id="rId25"/>
  </p:notesMasterIdLst>
  <p:sldIdLst>
    <p:sldId id="257" r:id="rId6"/>
    <p:sldId id="2141412746" r:id="rId7"/>
    <p:sldId id="2141412743" r:id="rId8"/>
    <p:sldId id="2141412742" r:id="rId9"/>
    <p:sldId id="4272" r:id="rId10"/>
    <p:sldId id="288" r:id="rId11"/>
    <p:sldId id="2141412740" r:id="rId12"/>
    <p:sldId id="2141412747" r:id="rId13"/>
    <p:sldId id="2141412748" r:id="rId14"/>
    <p:sldId id="2141412749" r:id="rId15"/>
    <p:sldId id="2141412750" r:id="rId16"/>
    <p:sldId id="273" r:id="rId17"/>
    <p:sldId id="2141412751" r:id="rId18"/>
    <p:sldId id="274" r:id="rId19"/>
    <p:sldId id="2141412753" r:id="rId20"/>
    <p:sldId id="2141412754" r:id="rId21"/>
    <p:sldId id="2141412752" r:id="rId22"/>
    <p:sldId id="2141412744" r:id="rId23"/>
    <p:sldId id="4259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94" d="100"/>
          <a:sy n="94" d="100"/>
        </p:scale>
        <p:origin x="125" y="1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customXml" Target="../customXml/item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ustomXml" Target="../customXml/item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CF169E-6AF8-429D-9A15-3D53B8A642D5}" type="datetimeFigureOut">
              <a:rPr lang="en-US" smtClean="0"/>
              <a:t>11/0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F3CA2C-D3D0-404A-8B23-D2525D353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66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9672c9c859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9672c9c859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04788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6" Type="http://schemas.openxmlformats.org/officeDocument/2006/relationships/image" Target="../media/image11.jpe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19EF3A-3418-4F52-82F5-DEB9FFB4CD8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50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783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72C02C13-0475-47D7-A7CD-F60A7CD50E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72C02C13-0475-47D7-A7CD-F60A7CD50E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3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>
            <a:extLst>
              <a:ext uri="{FF2B5EF4-FFF2-40B4-BE49-F238E27FC236}">
                <a16:creationId xmlns:a16="http://schemas.microsoft.com/office/drawing/2014/main" id="{49CAF7EA-DCAC-423C-A2D4-BAC5779CA6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3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612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473000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51A277AF-8CD8-4DE1-A34C-67D922DD4E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51A277AF-8CD8-4DE1-A34C-67D922DD4EC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3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2">
            <a:extLst>
              <a:ext uri="{FF2B5EF4-FFF2-40B4-BE49-F238E27FC236}">
                <a16:creationId xmlns:a16="http://schemas.microsoft.com/office/drawing/2014/main" id="{69D7805F-0ADD-4B9E-9FCA-59F5613DC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6" r="2364" b="5876"/>
          <a:stretch>
            <a:fillRect/>
          </a:stretch>
        </p:blipFill>
        <p:spPr bwMode="ltGray">
          <a:xfrm>
            <a:off x="3240" y="5293328"/>
            <a:ext cx="12188760" cy="1276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>
            <a:extLst>
              <a:ext uri="{FF2B5EF4-FFF2-40B4-BE49-F238E27FC236}">
                <a16:creationId xmlns:a16="http://schemas.microsoft.com/office/drawing/2014/main" id="{07C97B19-0611-4EB8-AC4F-848378BBE2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3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612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359897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86B0A090-3AA3-4F7D-AE82-C1CBE0C4BA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86B0A090-3AA3-4F7D-AE82-C1CBE0C4BA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3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6392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6" y="1630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6" y="1630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8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9"/>
            <a:ext cx="379578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13" y="5070732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13" y="5840688"/>
            <a:ext cx="8050193" cy="2197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13" y="6328096"/>
            <a:ext cx="805019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3486" t="24765" r="8277" b="28474"/>
          <a:stretch/>
        </p:blipFill>
        <p:spPr>
          <a:xfrm>
            <a:off x="9108401" y="6021722"/>
            <a:ext cx="2858319" cy="799031"/>
          </a:xfrm>
          <a:prstGeom prst="rect">
            <a:avLst/>
          </a:prstGeom>
        </p:spPr>
      </p:pic>
      <p:pic>
        <p:nvPicPr>
          <p:cNvPr id="13" name="Picture 12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79F5D29D-1068-E442-854A-8034DF6499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510"/>
          <a:stretch/>
        </p:blipFill>
        <p:spPr>
          <a:xfrm>
            <a:off x="-8548" y="-1"/>
            <a:ext cx="12207839" cy="5019882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3537947C-2F19-EF41-BEDA-940C10B9EF35}"/>
              </a:ext>
            </a:extLst>
          </p:cNvPr>
          <p:cNvSpPr/>
          <p:nvPr/>
        </p:nvSpPr>
        <p:spPr>
          <a:xfrm>
            <a:off x="-33298" y="2807829"/>
            <a:ext cx="9961139" cy="2207005"/>
          </a:xfrm>
          <a:prstGeom prst="rtTriangle">
            <a:avLst/>
          </a:prstGeom>
          <a:solidFill>
            <a:schemeClr val="tx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9" dirty="0" err="1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7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9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284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81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25982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81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33638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75067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Photo DARK">
  <p:cSld name="Title Content Photo DARK">
    <p:bg>
      <p:bgPr>
        <a:solidFill>
          <a:schemeClr val="dk1"/>
        </a:solidFill>
        <a:effectLst/>
      </p:bgPr>
    </p:bg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title"/>
          </p:nvPr>
        </p:nvSpPr>
        <p:spPr>
          <a:xfrm>
            <a:off x="717532" y="3059667"/>
            <a:ext cx="7785512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Mukta ExtraLight"/>
              <a:buNone/>
              <a:defRPr sz="4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3"/>
          <p:cNvSpPr/>
          <p:nvPr/>
        </p:nvSpPr>
        <p:spPr>
          <a:xfrm>
            <a:off x="727142" y="581271"/>
            <a:ext cx="1710383" cy="413964"/>
          </a:xfrm>
          <a:custGeom>
            <a:avLst/>
            <a:gdLst/>
            <a:ahLst/>
            <a:cxnLst/>
            <a:rect l="l" t="t" r="r" b="b"/>
            <a:pathLst>
              <a:path w="9164" h="2200" extrusionOk="0">
                <a:moveTo>
                  <a:pt x="8512" y="1083"/>
                </a:moveTo>
                <a:cubicBezTo>
                  <a:pt x="8512" y="1060"/>
                  <a:pt x="8517" y="1038"/>
                  <a:pt x="8527" y="1016"/>
                </a:cubicBezTo>
                <a:cubicBezTo>
                  <a:pt x="8537" y="994"/>
                  <a:pt x="8551" y="973"/>
                  <a:pt x="8570" y="956"/>
                </a:cubicBezTo>
                <a:cubicBezTo>
                  <a:pt x="8589" y="938"/>
                  <a:pt x="8612" y="923"/>
                  <a:pt x="8640" y="911"/>
                </a:cubicBezTo>
                <a:cubicBezTo>
                  <a:pt x="8668" y="899"/>
                  <a:pt x="8700" y="893"/>
                  <a:pt x="8736" y="893"/>
                </a:cubicBezTo>
                <a:cubicBezTo>
                  <a:pt x="8769" y="893"/>
                  <a:pt x="8799" y="899"/>
                  <a:pt x="8825" y="911"/>
                </a:cubicBezTo>
                <a:cubicBezTo>
                  <a:pt x="8851" y="923"/>
                  <a:pt x="8872" y="938"/>
                  <a:pt x="8889" y="956"/>
                </a:cubicBezTo>
                <a:cubicBezTo>
                  <a:pt x="8906" y="974"/>
                  <a:pt x="8918" y="994"/>
                  <a:pt x="8927" y="1016"/>
                </a:cubicBezTo>
                <a:cubicBezTo>
                  <a:pt x="8936" y="1038"/>
                  <a:pt x="8940" y="1060"/>
                  <a:pt x="8940" y="1083"/>
                </a:cubicBezTo>
                <a:cubicBezTo>
                  <a:pt x="8512" y="1083"/>
                  <a:pt x="8512" y="1083"/>
                  <a:pt x="8512" y="1083"/>
                </a:cubicBezTo>
                <a:close/>
                <a:moveTo>
                  <a:pt x="9035" y="1351"/>
                </a:moveTo>
                <a:cubicBezTo>
                  <a:pt x="9027" y="1358"/>
                  <a:pt x="9017" y="1368"/>
                  <a:pt x="9002" y="1379"/>
                </a:cubicBezTo>
                <a:cubicBezTo>
                  <a:pt x="8988" y="1391"/>
                  <a:pt x="8970" y="1402"/>
                  <a:pt x="8948" y="1413"/>
                </a:cubicBezTo>
                <a:cubicBezTo>
                  <a:pt x="8925" y="1423"/>
                  <a:pt x="8898" y="1433"/>
                  <a:pt x="8867" y="1441"/>
                </a:cubicBezTo>
                <a:cubicBezTo>
                  <a:pt x="8835" y="1449"/>
                  <a:pt x="8798" y="1453"/>
                  <a:pt x="8756" y="1453"/>
                </a:cubicBezTo>
                <a:cubicBezTo>
                  <a:pt x="8727" y="1453"/>
                  <a:pt x="8699" y="1448"/>
                  <a:pt x="8670" y="1438"/>
                </a:cubicBezTo>
                <a:cubicBezTo>
                  <a:pt x="8640" y="1428"/>
                  <a:pt x="8614" y="1414"/>
                  <a:pt x="8591" y="1395"/>
                </a:cubicBezTo>
                <a:cubicBezTo>
                  <a:pt x="8569" y="1377"/>
                  <a:pt x="8550" y="1354"/>
                  <a:pt x="8536" y="1328"/>
                </a:cubicBezTo>
                <a:cubicBezTo>
                  <a:pt x="8521" y="1302"/>
                  <a:pt x="8514" y="1275"/>
                  <a:pt x="8514" y="1241"/>
                </a:cubicBezTo>
                <a:cubicBezTo>
                  <a:pt x="9164" y="1241"/>
                  <a:pt x="9164" y="1241"/>
                  <a:pt x="9164" y="1241"/>
                </a:cubicBezTo>
                <a:cubicBezTo>
                  <a:pt x="9164" y="1209"/>
                  <a:pt x="9164" y="1209"/>
                  <a:pt x="9164" y="1209"/>
                </a:cubicBezTo>
                <a:cubicBezTo>
                  <a:pt x="9164" y="1147"/>
                  <a:pt x="9157" y="1087"/>
                  <a:pt x="9142" y="1027"/>
                </a:cubicBezTo>
                <a:cubicBezTo>
                  <a:pt x="9128" y="968"/>
                  <a:pt x="9104" y="914"/>
                  <a:pt x="9070" y="867"/>
                </a:cubicBezTo>
                <a:cubicBezTo>
                  <a:pt x="9037" y="820"/>
                  <a:pt x="8992" y="782"/>
                  <a:pt x="8937" y="753"/>
                </a:cubicBezTo>
                <a:cubicBezTo>
                  <a:pt x="8882" y="724"/>
                  <a:pt x="8815" y="709"/>
                  <a:pt x="8736" y="709"/>
                </a:cubicBezTo>
                <a:cubicBezTo>
                  <a:pt x="8670" y="709"/>
                  <a:pt x="8610" y="721"/>
                  <a:pt x="8556" y="745"/>
                </a:cubicBezTo>
                <a:cubicBezTo>
                  <a:pt x="8502" y="768"/>
                  <a:pt x="8456" y="800"/>
                  <a:pt x="8417" y="841"/>
                </a:cubicBezTo>
                <a:cubicBezTo>
                  <a:pt x="8378" y="882"/>
                  <a:pt x="8347" y="930"/>
                  <a:pt x="8326" y="985"/>
                </a:cubicBezTo>
                <a:cubicBezTo>
                  <a:pt x="8304" y="1040"/>
                  <a:pt x="8293" y="1100"/>
                  <a:pt x="8293" y="1165"/>
                </a:cubicBezTo>
                <a:cubicBezTo>
                  <a:pt x="8293" y="1235"/>
                  <a:pt x="8304" y="1300"/>
                  <a:pt x="8326" y="1358"/>
                </a:cubicBezTo>
                <a:cubicBezTo>
                  <a:pt x="8347" y="1416"/>
                  <a:pt x="8378" y="1466"/>
                  <a:pt x="8419" y="1508"/>
                </a:cubicBezTo>
                <a:cubicBezTo>
                  <a:pt x="8459" y="1549"/>
                  <a:pt x="8507" y="1582"/>
                  <a:pt x="8565" y="1605"/>
                </a:cubicBezTo>
                <a:cubicBezTo>
                  <a:pt x="8622" y="1629"/>
                  <a:pt x="8685" y="1641"/>
                  <a:pt x="8754" y="1641"/>
                </a:cubicBezTo>
                <a:cubicBezTo>
                  <a:pt x="8822" y="1641"/>
                  <a:pt x="8881" y="1633"/>
                  <a:pt x="8930" y="1618"/>
                </a:cubicBezTo>
                <a:cubicBezTo>
                  <a:pt x="8979" y="1603"/>
                  <a:pt x="9019" y="1587"/>
                  <a:pt x="9051" y="1568"/>
                </a:cubicBezTo>
                <a:cubicBezTo>
                  <a:pt x="9082" y="1550"/>
                  <a:pt x="9106" y="1532"/>
                  <a:pt x="9123" y="1515"/>
                </a:cubicBezTo>
                <a:cubicBezTo>
                  <a:pt x="9140" y="1498"/>
                  <a:pt x="9150" y="1488"/>
                  <a:pt x="9154" y="1484"/>
                </a:cubicBezTo>
                <a:cubicBezTo>
                  <a:pt x="9035" y="1351"/>
                  <a:pt x="9035" y="1351"/>
                  <a:pt x="9035" y="1351"/>
                </a:cubicBezTo>
                <a:close/>
                <a:moveTo>
                  <a:pt x="8065" y="1354"/>
                </a:moveTo>
                <a:cubicBezTo>
                  <a:pt x="8040" y="1383"/>
                  <a:pt x="8009" y="1405"/>
                  <a:pt x="7973" y="1422"/>
                </a:cubicBezTo>
                <a:cubicBezTo>
                  <a:pt x="7937" y="1439"/>
                  <a:pt x="7898" y="1447"/>
                  <a:pt x="7854" y="1447"/>
                </a:cubicBezTo>
                <a:cubicBezTo>
                  <a:pt x="7812" y="1447"/>
                  <a:pt x="7776" y="1439"/>
                  <a:pt x="7745" y="1423"/>
                </a:cubicBezTo>
                <a:cubicBezTo>
                  <a:pt x="7714" y="1407"/>
                  <a:pt x="7688" y="1386"/>
                  <a:pt x="7668" y="1360"/>
                </a:cubicBezTo>
                <a:cubicBezTo>
                  <a:pt x="7647" y="1334"/>
                  <a:pt x="7632" y="1305"/>
                  <a:pt x="7622" y="1273"/>
                </a:cubicBezTo>
                <a:cubicBezTo>
                  <a:pt x="7612" y="1240"/>
                  <a:pt x="7607" y="1207"/>
                  <a:pt x="7607" y="1174"/>
                </a:cubicBezTo>
                <a:cubicBezTo>
                  <a:pt x="7607" y="1139"/>
                  <a:pt x="7612" y="1105"/>
                  <a:pt x="7622" y="1072"/>
                </a:cubicBezTo>
                <a:cubicBezTo>
                  <a:pt x="7632" y="1038"/>
                  <a:pt x="7647" y="1009"/>
                  <a:pt x="7668" y="984"/>
                </a:cubicBezTo>
                <a:cubicBezTo>
                  <a:pt x="7688" y="960"/>
                  <a:pt x="7714" y="939"/>
                  <a:pt x="7745" y="924"/>
                </a:cubicBezTo>
                <a:cubicBezTo>
                  <a:pt x="7776" y="908"/>
                  <a:pt x="7812" y="901"/>
                  <a:pt x="7854" y="901"/>
                </a:cubicBezTo>
                <a:cubicBezTo>
                  <a:pt x="7898" y="901"/>
                  <a:pt x="7936" y="909"/>
                  <a:pt x="7970" y="925"/>
                </a:cubicBezTo>
                <a:cubicBezTo>
                  <a:pt x="8003" y="941"/>
                  <a:pt x="8032" y="963"/>
                  <a:pt x="8057" y="992"/>
                </a:cubicBezTo>
                <a:cubicBezTo>
                  <a:pt x="8197" y="850"/>
                  <a:pt x="8197" y="850"/>
                  <a:pt x="8197" y="850"/>
                </a:cubicBezTo>
                <a:cubicBezTo>
                  <a:pt x="8156" y="807"/>
                  <a:pt x="8106" y="773"/>
                  <a:pt x="8048" y="747"/>
                </a:cubicBezTo>
                <a:cubicBezTo>
                  <a:pt x="7990" y="722"/>
                  <a:pt x="7925" y="709"/>
                  <a:pt x="7854" y="709"/>
                </a:cubicBezTo>
                <a:cubicBezTo>
                  <a:pt x="7785" y="709"/>
                  <a:pt x="7722" y="722"/>
                  <a:pt x="7664" y="746"/>
                </a:cubicBezTo>
                <a:cubicBezTo>
                  <a:pt x="7606" y="771"/>
                  <a:pt x="7557" y="805"/>
                  <a:pt x="7516" y="847"/>
                </a:cubicBezTo>
                <a:cubicBezTo>
                  <a:pt x="7475" y="889"/>
                  <a:pt x="7443" y="938"/>
                  <a:pt x="7420" y="995"/>
                </a:cubicBezTo>
                <a:cubicBezTo>
                  <a:pt x="7397" y="1051"/>
                  <a:pt x="7386" y="1111"/>
                  <a:pt x="7386" y="1174"/>
                </a:cubicBezTo>
                <a:cubicBezTo>
                  <a:pt x="7386" y="1243"/>
                  <a:pt x="7396" y="1307"/>
                  <a:pt x="7418" y="1364"/>
                </a:cubicBezTo>
                <a:cubicBezTo>
                  <a:pt x="7439" y="1421"/>
                  <a:pt x="7469" y="1470"/>
                  <a:pt x="7509" y="1511"/>
                </a:cubicBezTo>
                <a:cubicBezTo>
                  <a:pt x="7548" y="1551"/>
                  <a:pt x="7597" y="1583"/>
                  <a:pt x="7656" y="1605"/>
                </a:cubicBezTo>
                <a:cubicBezTo>
                  <a:pt x="7714" y="1628"/>
                  <a:pt x="7780" y="1639"/>
                  <a:pt x="7854" y="1639"/>
                </a:cubicBezTo>
                <a:cubicBezTo>
                  <a:pt x="7929" y="1639"/>
                  <a:pt x="7994" y="1626"/>
                  <a:pt x="8050" y="1600"/>
                </a:cubicBezTo>
                <a:cubicBezTo>
                  <a:pt x="8105" y="1574"/>
                  <a:pt x="8154" y="1539"/>
                  <a:pt x="8195" y="1496"/>
                </a:cubicBezTo>
                <a:cubicBezTo>
                  <a:pt x="8065" y="1354"/>
                  <a:pt x="8065" y="1354"/>
                  <a:pt x="8065" y="1354"/>
                </a:cubicBezTo>
                <a:close/>
                <a:moveTo>
                  <a:pt x="7005" y="1302"/>
                </a:moveTo>
                <a:cubicBezTo>
                  <a:pt x="7005" y="1325"/>
                  <a:pt x="6999" y="1346"/>
                  <a:pt x="6987" y="1366"/>
                </a:cubicBezTo>
                <a:cubicBezTo>
                  <a:pt x="6976" y="1385"/>
                  <a:pt x="6960" y="1403"/>
                  <a:pt x="6942" y="1418"/>
                </a:cubicBezTo>
                <a:cubicBezTo>
                  <a:pt x="6923" y="1432"/>
                  <a:pt x="6902" y="1444"/>
                  <a:pt x="6877" y="1453"/>
                </a:cubicBezTo>
                <a:cubicBezTo>
                  <a:pt x="6853" y="1462"/>
                  <a:pt x="6828" y="1466"/>
                  <a:pt x="6802" y="1466"/>
                </a:cubicBezTo>
                <a:cubicBezTo>
                  <a:pt x="6750" y="1466"/>
                  <a:pt x="6711" y="1455"/>
                  <a:pt x="6684" y="1434"/>
                </a:cubicBezTo>
                <a:cubicBezTo>
                  <a:pt x="6657" y="1413"/>
                  <a:pt x="6644" y="1384"/>
                  <a:pt x="6644" y="1347"/>
                </a:cubicBezTo>
                <a:cubicBezTo>
                  <a:pt x="6644" y="1311"/>
                  <a:pt x="6658" y="1279"/>
                  <a:pt x="6687" y="1251"/>
                </a:cubicBezTo>
                <a:cubicBezTo>
                  <a:pt x="6715" y="1223"/>
                  <a:pt x="6765" y="1209"/>
                  <a:pt x="6836" y="1209"/>
                </a:cubicBezTo>
                <a:cubicBezTo>
                  <a:pt x="6849" y="1209"/>
                  <a:pt x="6866" y="1210"/>
                  <a:pt x="6885" y="1210"/>
                </a:cubicBezTo>
                <a:cubicBezTo>
                  <a:pt x="6904" y="1211"/>
                  <a:pt x="6923" y="1212"/>
                  <a:pt x="6940" y="1213"/>
                </a:cubicBezTo>
                <a:cubicBezTo>
                  <a:pt x="6961" y="1214"/>
                  <a:pt x="6983" y="1216"/>
                  <a:pt x="7005" y="1217"/>
                </a:cubicBezTo>
                <a:cubicBezTo>
                  <a:pt x="7005" y="1302"/>
                  <a:pt x="7005" y="1302"/>
                  <a:pt x="7005" y="1302"/>
                </a:cubicBezTo>
                <a:close/>
                <a:moveTo>
                  <a:pt x="7010" y="1610"/>
                </a:moveTo>
                <a:cubicBezTo>
                  <a:pt x="7214" y="1610"/>
                  <a:pt x="7214" y="1610"/>
                  <a:pt x="7214" y="1610"/>
                </a:cubicBezTo>
                <a:cubicBezTo>
                  <a:pt x="7214" y="1025"/>
                  <a:pt x="7214" y="1025"/>
                  <a:pt x="7214" y="1025"/>
                </a:cubicBezTo>
                <a:cubicBezTo>
                  <a:pt x="7214" y="979"/>
                  <a:pt x="7206" y="937"/>
                  <a:pt x="7188" y="898"/>
                </a:cubicBezTo>
                <a:cubicBezTo>
                  <a:pt x="7171" y="859"/>
                  <a:pt x="7146" y="825"/>
                  <a:pt x="7114" y="797"/>
                </a:cubicBezTo>
                <a:cubicBezTo>
                  <a:pt x="7082" y="770"/>
                  <a:pt x="7043" y="748"/>
                  <a:pt x="6998" y="732"/>
                </a:cubicBezTo>
                <a:cubicBezTo>
                  <a:pt x="6953" y="717"/>
                  <a:pt x="6902" y="709"/>
                  <a:pt x="6847" y="709"/>
                </a:cubicBezTo>
                <a:cubicBezTo>
                  <a:pt x="6795" y="709"/>
                  <a:pt x="6749" y="713"/>
                  <a:pt x="6710" y="719"/>
                </a:cubicBezTo>
                <a:cubicBezTo>
                  <a:pt x="6671" y="726"/>
                  <a:pt x="6637" y="735"/>
                  <a:pt x="6607" y="745"/>
                </a:cubicBezTo>
                <a:cubicBezTo>
                  <a:pt x="6577" y="756"/>
                  <a:pt x="6551" y="768"/>
                  <a:pt x="6529" y="781"/>
                </a:cubicBezTo>
                <a:cubicBezTo>
                  <a:pt x="6507" y="794"/>
                  <a:pt x="6487" y="807"/>
                  <a:pt x="6469" y="819"/>
                </a:cubicBezTo>
                <a:cubicBezTo>
                  <a:pt x="6570" y="968"/>
                  <a:pt x="6570" y="968"/>
                  <a:pt x="6570" y="968"/>
                </a:cubicBezTo>
                <a:cubicBezTo>
                  <a:pt x="6598" y="949"/>
                  <a:pt x="6631" y="932"/>
                  <a:pt x="6668" y="916"/>
                </a:cubicBezTo>
                <a:cubicBezTo>
                  <a:pt x="6705" y="899"/>
                  <a:pt x="6755" y="891"/>
                  <a:pt x="6817" y="891"/>
                </a:cubicBezTo>
                <a:cubicBezTo>
                  <a:pt x="6873" y="891"/>
                  <a:pt x="6918" y="904"/>
                  <a:pt x="6953" y="929"/>
                </a:cubicBezTo>
                <a:cubicBezTo>
                  <a:pt x="6988" y="953"/>
                  <a:pt x="7005" y="987"/>
                  <a:pt x="7005" y="1031"/>
                </a:cubicBezTo>
                <a:cubicBezTo>
                  <a:pt x="7005" y="1051"/>
                  <a:pt x="7005" y="1051"/>
                  <a:pt x="7005" y="1051"/>
                </a:cubicBezTo>
                <a:cubicBezTo>
                  <a:pt x="6983" y="1050"/>
                  <a:pt x="6958" y="1049"/>
                  <a:pt x="6936" y="1048"/>
                </a:cubicBezTo>
                <a:cubicBezTo>
                  <a:pt x="6916" y="1046"/>
                  <a:pt x="6896" y="1045"/>
                  <a:pt x="6875" y="1045"/>
                </a:cubicBezTo>
                <a:cubicBezTo>
                  <a:pt x="6854" y="1044"/>
                  <a:pt x="6834" y="1044"/>
                  <a:pt x="6817" y="1044"/>
                </a:cubicBezTo>
                <a:cubicBezTo>
                  <a:pt x="6760" y="1044"/>
                  <a:pt x="6708" y="1051"/>
                  <a:pt x="6661" y="1064"/>
                </a:cubicBezTo>
                <a:cubicBezTo>
                  <a:pt x="6614" y="1078"/>
                  <a:pt x="6573" y="1098"/>
                  <a:pt x="6540" y="1125"/>
                </a:cubicBezTo>
                <a:cubicBezTo>
                  <a:pt x="6507" y="1151"/>
                  <a:pt x="6480" y="1184"/>
                  <a:pt x="6462" y="1223"/>
                </a:cubicBezTo>
                <a:cubicBezTo>
                  <a:pt x="6443" y="1262"/>
                  <a:pt x="6434" y="1307"/>
                  <a:pt x="6434" y="1356"/>
                </a:cubicBezTo>
                <a:cubicBezTo>
                  <a:pt x="6434" y="1405"/>
                  <a:pt x="6443" y="1447"/>
                  <a:pt x="6461" y="1483"/>
                </a:cubicBezTo>
                <a:cubicBezTo>
                  <a:pt x="6479" y="1519"/>
                  <a:pt x="6502" y="1548"/>
                  <a:pt x="6532" y="1571"/>
                </a:cubicBezTo>
                <a:cubicBezTo>
                  <a:pt x="6561" y="1594"/>
                  <a:pt x="6593" y="1611"/>
                  <a:pt x="6628" y="1622"/>
                </a:cubicBezTo>
                <a:cubicBezTo>
                  <a:pt x="6664" y="1633"/>
                  <a:pt x="6699" y="1639"/>
                  <a:pt x="6735" y="1639"/>
                </a:cubicBezTo>
                <a:cubicBezTo>
                  <a:pt x="6795" y="1639"/>
                  <a:pt x="6849" y="1628"/>
                  <a:pt x="6897" y="1605"/>
                </a:cubicBezTo>
                <a:cubicBezTo>
                  <a:pt x="6945" y="1583"/>
                  <a:pt x="6981" y="1557"/>
                  <a:pt x="7005" y="1529"/>
                </a:cubicBezTo>
                <a:cubicBezTo>
                  <a:pt x="7010" y="1610"/>
                  <a:pt x="7010" y="1610"/>
                  <a:pt x="7010" y="1610"/>
                </a:cubicBezTo>
                <a:close/>
                <a:moveTo>
                  <a:pt x="6024" y="1610"/>
                </a:moveTo>
                <a:cubicBezTo>
                  <a:pt x="6244" y="1610"/>
                  <a:pt x="6244" y="1610"/>
                  <a:pt x="6244" y="1610"/>
                </a:cubicBezTo>
                <a:cubicBezTo>
                  <a:pt x="6244" y="370"/>
                  <a:pt x="6244" y="370"/>
                  <a:pt x="6244" y="370"/>
                </a:cubicBezTo>
                <a:cubicBezTo>
                  <a:pt x="6024" y="370"/>
                  <a:pt x="6024" y="370"/>
                  <a:pt x="6024" y="370"/>
                </a:cubicBezTo>
                <a:cubicBezTo>
                  <a:pt x="6024" y="1610"/>
                  <a:pt x="6024" y="1610"/>
                  <a:pt x="6024" y="1610"/>
                </a:cubicBezTo>
                <a:close/>
                <a:moveTo>
                  <a:pt x="5181" y="1139"/>
                </a:moveTo>
                <a:cubicBezTo>
                  <a:pt x="5181" y="1114"/>
                  <a:pt x="5186" y="1088"/>
                  <a:pt x="5197" y="1062"/>
                </a:cubicBezTo>
                <a:cubicBezTo>
                  <a:pt x="5207" y="1035"/>
                  <a:pt x="5222" y="1010"/>
                  <a:pt x="5241" y="988"/>
                </a:cubicBezTo>
                <a:cubicBezTo>
                  <a:pt x="5261" y="966"/>
                  <a:pt x="5284" y="947"/>
                  <a:pt x="5311" y="933"/>
                </a:cubicBezTo>
                <a:cubicBezTo>
                  <a:pt x="5338" y="919"/>
                  <a:pt x="5369" y="912"/>
                  <a:pt x="5402" y="912"/>
                </a:cubicBezTo>
                <a:cubicBezTo>
                  <a:pt x="5444" y="912"/>
                  <a:pt x="5480" y="919"/>
                  <a:pt x="5508" y="933"/>
                </a:cubicBezTo>
                <a:cubicBezTo>
                  <a:pt x="5537" y="947"/>
                  <a:pt x="5560" y="967"/>
                  <a:pt x="5578" y="991"/>
                </a:cubicBezTo>
                <a:cubicBezTo>
                  <a:pt x="5596" y="1015"/>
                  <a:pt x="5609" y="1043"/>
                  <a:pt x="5617" y="1075"/>
                </a:cubicBezTo>
                <a:cubicBezTo>
                  <a:pt x="5625" y="1108"/>
                  <a:pt x="5629" y="1142"/>
                  <a:pt x="5629" y="1180"/>
                </a:cubicBezTo>
                <a:cubicBezTo>
                  <a:pt x="5629" y="1214"/>
                  <a:pt x="5623" y="1248"/>
                  <a:pt x="5612" y="1280"/>
                </a:cubicBezTo>
                <a:cubicBezTo>
                  <a:pt x="5601" y="1312"/>
                  <a:pt x="5585" y="1341"/>
                  <a:pt x="5563" y="1366"/>
                </a:cubicBezTo>
                <a:cubicBezTo>
                  <a:pt x="5541" y="1392"/>
                  <a:pt x="5515" y="1412"/>
                  <a:pt x="5484" y="1428"/>
                </a:cubicBezTo>
                <a:cubicBezTo>
                  <a:pt x="5453" y="1443"/>
                  <a:pt x="5418" y="1451"/>
                  <a:pt x="5378" y="1451"/>
                </a:cubicBezTo>
                <a:cubicBezTo>
                  <a:pt x="5290" y="1451"/>
                  <a:pt x="5224" y="1433"/>
                  <a:pt x="5181" y="1397"/>
                </a:cubicBezTo>
                <a:cubicBezTo>
                  <a:pt x="5181" y="1139"/>
                  <a:pt x="5181" y="1139"/>
                  <a:pt x="5181" y="1139"/>
                </a:cubicBezTo>
                <a:close/>
                <a:moveTo>
                  <a:pt x="4964" y="1982"/>
                </a:moveTo>
                <a:cubicBezTo>
                  <a:pt x="5181" y="1982"/>
                  <a:pt x="5181" y="1982"/>
                  <a:pt x="5181" y="1982"/>
                </a:cubicBezTo>
                <a:cubicBezTo>
                  <a:pt x="5181" y="1594"/>
                  <a:pt x="5181" y="1594"/>
                  <a:pt x="5181" y="1594"/>
                </a:cubicBezTo>
                <a:cubicBezTo>
                  <a:pt x="5198" y="1600"/>
                  <a:pt x="5212" y="1606"/>
                  <a:pt x="5227" y="1612"/>
                </a:cubicBezTo>
                <a:cubicBezTo>
                  <a:pt x="5241" y="1617"/>
                  <a:pt x="5256" y="1622"/>
                  <a:pt x="5273" y="1627"/>
                </a:cubicBezTo>
                <a:cubicBezTo>
                  <a:pt x="5290" y="1631"/>
                  <a:pt x="5308" y="1634"/>
                  <a:pt x="5329" y="1637"/>
                </a:cubicBezTo>
                <a:cubicBezTo>
                  <a:pt x="5349" y="1639"/>
                  <a:pt x="5374" y="1641"/>
                  <a:pt x="5402" y="1641"/>
                </a:cubicBezTo>
                <a:cubicBezTo>
                  <a:pt x="5464" y="1641"/>
                  <a:pt x="5525" y="1629"/>
                  <a:pt x="5583" y="1605"/>
                </a:cubicBezTo>
                <a:cubicBezTo>
                  <a:pt x="5642" y="1582"/>
                  <a:pt x="5697" y="1540"/>
                  <a:pt x="5746" y="1481"/>
                </a:cubicBezTo>
                <a:cubicBezTo>
                  <a:pt x="5776" y="1445"/>
                  <a:pt x="5801" y="1403"/>
                  <a:pt x="5820" y="1354"/>
                </a:cubicBezTo>
                <a:cubicBezTo>
                  <a:pt x="5840" y="1306"/>
                  <a:pt x="5850" y="1248"/>
                  <a:pt x="5850" y="1180"/>
                </a:cubicBezTo>
                <a:cubicBezTo>
                  <a:pt x="5850" y="1121"/>
                  <a:pt x="5842" y="1065"/>
                  <a:pt x="5826" y="1010"/>
                </a:cubicBezTo>
                <a:cubicBezTo>
                  <a:pt x="5810" y="956"/>
                  <a:pt x="5786" y="907"/>
                  <a:pt x="5754" y="864"/>
                </a:cubicBezTo>
                <a:cubicBezTo>
                  <a:pt x="5721" y="822"/>
                  <a:pt x="5681" y="787"/>
                  <a:pt x="5632" y="761"/>
                </a:cubicBezTo>
                <a:cubicBezTo>
                  <a:pt x="5583" y="735"/>
                  <a:pt x="5525" y="722"/>
                  <a:pt x="5458" y="722"/>
                </a:cubicBezTo>
                <a:cubicBezTo>
                  <a:pt x="5422" y="722"/>
                  <a:pt x="5389" y="726"/>
                  <a:pt x="5360" y="733"/>
                </a:cubicBezTo>
                <a:cubicBezTo>
                  <a:pt x="5331" y="741"/>
                  <a:pt x="5305" y="750"/>
                  <a:pt x="5282" y="761"/>
                </a:cubicBezTo>
                <a:cubicBezTo>
                  <a:pt x="5259" y="772"/>
                  <a:pt x="5239" y="785"/>
                  <a:pt x="5223" y="798"/>
                </a:cubicBezTo>
                <a:cubicBezTo>
                  <a:pt x="5206" y="812"/>
                  <a:pt x="5192" y="825"/>
                  <a:pt x="5181" y="837"/>
                </a:cubicBezTo>
                <a:cubicBezTo>
                  <a:pt x="5175" y="739"/>
                  <a:pt x="5175" y="739"/>
                  <a:pt x="5175" y="739"/>
                </a:cubicBezTo>
                <a:cubicBezTo>
                  <a:pt x="4964" y="739"/>
                  <a:pt x="4964" y="739"/>
                  <a:pt x="4964" y="739"/>
                </a:cubicBezTo>
                <a:cubicBezTo>
                  <a:pt x="4964" y="1982"/>
                  <a:pt x="4964" y="1982"/>
                  <a:pt x="4964" y="1982"/>
                </a:cubicBezTo>
                <a:close/>
                <a:moveTo>
                  <a:pt x="4011" y="1610"/>
                </a:moveTo>
                <a:cubicBezTo>
                  <a:pt x="4231" y="1610"/>
                  <a:pt x="4231" y="1610"/>
                  <a:pt x="4231" y="1610"/>
                </a:cubicBezTo>
                <a:cubicBezTo>
                  <a:pt x="4231" y="1302"/>
                  <a:pt x="4231" y="1302"/>
                  <a:pt x="4231" y="1302"/>
                </a:cubicBezTo>
                <a:cubicBezTo>
                  <a:pt x="4326" y="1209"/>
                  <a:pt x="4326" y="1209"/>
                  <a:pt x="4326" y="1209"/>
                </a:cubicBezTo>
                <a:cubicBezTo>
                  <a:pt x="4578" y="1610"/>
                  <a:pt x="4578" y="1610"/>
                  <a:pt x="4578" y="1610"/>
                </a:cubicBezTo>
                <a:cubicBezTo>
                  <a:pt x="4841" y="1610"/>
                  <a:pt x="4841" y="1610"/>
                  <a:pt x="4841" y="1610"/>
                </a:cubicBezTo>
                <a:cubicBezTo>
                  <a:pt x="4476" y="1060"/>
                  <a:pt x="4476" y="1060"/>
                  <a:pt x="4476" y="1060"/>
                </a:cubicBezTo>
                <a:cubicBezTo>
                  <a:pt x="4803" y="739"/>
                  <a:pt x="4803" y="739"/>
                  <a:pt x="4803" y="739"/>
                </a:cubicBezTo>
                <a:cubicBezTo>
                  <a:pt x="4545" y="739"/>
                  <a:pt x="4545" y="739"/>
                  <a:pt x="4545" y="739"/>
                </a:cubicBezTo>
                <a:cubicBezTo>
                  <a:pt x="4231" y="1048"/>
                  <a:pt x="4231" y="1048"/>
                  <a:pt x="4231" y="1048"/>
                </a:cubicBezTo>
                <a:cubicBezTo>
                  <a:pt x="4231" y="370"/>
                  <a:pt x="4231" y="370"/>
                  <a:pt x="4231" y="370"/>
                </a:cubicBezTo>
                <a:cubicBezTo>
                  <a:pt x="4011" y="370"/>
                  <a:pt x="4011" y="370"/>
                  <a:pt x="4011" y="370"/>
                </a:cubicBezTo>
                <a:cubicBezTo>
                  <a:pt x="4011" y="1610"/>
                  <a:pt x="4011" y="1610"/>
                  <a:pt x="4011" y="1610"/>
                </a:cubicBezTo>
                <a:close/>
                <a:moveTo>
                  <a:pt x="3301" y="1610"/>
                </a:moveTo>
                <a:cubicBezTo>
                  <a:pt x="3521" y="1610"/>
                  <a:pt x="3521" y="1610"/>
                  <a:pt x="3521" y="1610"/>
                </a:cubicBezTo>
                <a:cubicBezTo>
                  <a:pt x="3521" y="1141"/>
                  <a:pt x="3521" y="1141"/>
                  <a:pt x="3521" y="1141"/>
                </a:cubicBezTo>
                <a:cubicBezTo>
                  <a:pt x="3521" y="1108"/>
                  <a:pt x="3527" y="1079"/>
                  <a:pt x="3538" y="1053"/>
                </a:cubicBezTo>
                <a:cubicBezTo>
                  <a:pt x="3550" y="1027"/>
                  <a:pt x="3566" y="1005"/>
                  <a:pt x="3586" y="986"/>
                </a:cubicBezTo>
                <a:cubicBezTo>
                  <a:pt x="3606" y="968"/>
                  <a:pt x="3629" y="953"/>
                  <a:pt x="3656" y="943"/>
                </a:cubicBezTo>
                <a:cubicBezTo>
                  <a:pt x="3684" y="934"/>
                  <a:pt x="3712" y="929"/>
                  <a:pt x="3742" y="929"/>
                </a:cubicBezTo>
                <a:cubicBezTo>
                  <a:pt x="3763" y="929"/>
                  <a:pt x="3781" y="930"/>
                  <a:pt x="3797" y="932"/>
                </a:cubicBezTo>
                <a:cubicBezTo>
                  <a:pt x="3812" y="935"/>
                  <a:pt x="3827" y="939"/>
                  <a:pt x="3842" y="945"/>
                </a:cubicBezTo>
                <a:cubicBezTo>
                  <a:pt x="3887" y="739"/>
                  <a:pt x="3887" y="739"/>
                  <a:pt x="3887" y="739"/>
                </a:cubicBezTo>
                <a:cubicBezTo>
                  <a:pt x="3870" y="733"/>
                  <a:pt x="3852" y="728"/>
                  <a:pt x="3836" y="726"/>
                </a:cubicBezTo>
                <a:cubicBezTo>
                  <a:pt x="3819" y="723"/>
                  <a:pt x="3800" y="722"/>
                  <a:pt x="3779" y="722"/>
                </a:cubicBezTo>
                <a:cubicBezTo>
                  <a:pt x="3743" y="722"/>
                  <a:pt x="3711" y="727"/>
                  <a:pt x="3683" y="735"/>
                </a:cubicBezTo>
                <a:cubicBezTo>
                  <a:pt x="3655" y="744"/>
                  <a:pt x="3631" y="754"/>
                  <a:pt x="3610" y="767"/>
                </a:cubicBezTo>
                <a:cubicBezTo>
                  <a:pt x="3589" y="779"/>
                  <a:pt x="3570" y="793"/>
                  <a:pt x="3555" y="808"/>
                </a:cubicBezTo>
                <a:cubicBezTo>
                  <a:pt x="3539" y="823"/>
                  <a:pt x="3527" y="836"/>
                  <a:pt x="3517" y="849"/>
                </a:cubicBezTo>
                <a:cubicBezTo>
                  <a:pt x="3511" y="739"/>
                  <a:pt x="3511" y="739"/>
                  <a:pt x="3511" y="739"/>
                </a:cubicBezTo>
                <a:cubicBezTo>
                  <a:pt x="3301" y="739"/>
                  <a:pt x="3301" y="739"/>
                  <a:pt x="3301" y="739"/>
                </a:cubicBezTo>
                <a:cubicBezTo>
                  <a:pt x="3301" y="1610"/>
                  <a:pt x="3301" y="1610"/>
                  <a:pt x="3301" y="1610"/>
                </a:cubicBezTo>
                <a:close/>
                <a:moveTo>
                  <a:pt x="2548" y="1426"/>
                </a:moveTo>
                <a:cubicBezTo>
                  <a:pt x="2517" y="1409"/>
                  <a:pt x="2492" y="1387"/>
                  <a:pt x="2471" y="1360"/>
                </a:cubicBezTo>
                <a:cubicBezTo>
                  <a:pt x="2451" y="1333"/>
                  <a:pt x="2435" y="1303"/>
                  <a:pt x="2426" y="1271"/>
                </a:cubicBezTo>
                <a:cubicBezTo>
                  <a:pt x="2416" y="1238"/>
                  <a:pt x="2411" y="1206"/>
                  <a:pt x="2411" y="1174"/>
                </a:cubicBezTo>
                <a:cubicBezTo>
                  <a:pt x="2411" y="1143"/>
                  <a:pt x="2416" y="1111"/>
                  <a:pt x="2426" y="1078"/>
                </a:cubicBezTo>
                <a:cubicBezTo>
                  <a:pt x="2435" y="1045"/>
                  <a:pt x="2451" y="1016"/>
                  <a:pt x="2471" y="989"/>
                </a:cubicBezTo>
                <a:cubicBezTo>
                  <a:pt x="2492" y="962"/>
                  <a:pt x="2517" y="941"/>
                  <a:pt x="2548" y="924"/>
                </a:cubicBezTo>
                <a:cubicBezTo>
                  <a:pt x="2579" y="907"/>
                  <a:pt x="2616" y="899"/>
                  <a:pt x="2658" y="899"/>
                </a:cubicBezTo>
                <a:cubicBezTo>
                  <a:pt x="2700" y="899"/>
                  <a:pt x="2737" y="907"/>
                  <a:pt x="2768" y="924"/>
                </a:cubicBezTo>
                <a:cubicBezTo>
                  <a:pt x="2799" y="941"/>
                  <a:pt x="2824" y="962"/>
                  <a:pt x="2845" y="989"/>
                </a:cubicBezTo>
                <a:cubicBezTo>
                  <a:pt x="2865" y="1016"/>
                  <a:pt x="2880" y="1045"/>
                  <a:pt x="2890" y="1078"/>
                </a:cubicBezTo>
                <a:cubicBezTo>
                  <a:pt x="2900" y="1111"/>
                  <a:pt x="2905" y="1143"/>
                  <a:pt x="2905" y="1174"/>
                </a:cubicBezTo>
                <a:cubicBezTo>
                  <a:pt x="2905" y="1206"/>
                  <a:pt x="2900" y="1238"/>
                  <a:pt x="2890" y="1271"/>
                </a:cubicBezTo>
                <a:cubicBezTo>
                  <a:pt x="2880" y="1303"/>
                  <a:pt x="2865" y="1333"/>
                  <a:pt x="2845" y="1360"/>
                </a:cubicBezTo>
                <a:cubicBezTo>
                  <a:pt x="2824" y="1387"/>
                  <a:pt x="2799" y="1409"/>
                  <a:pt x="2768" y="1426"/>
                </a:cubicBezTo>
                <a:cubicBezTo>
                  <a:pt x="2737" y="1443"/>
                  <a:pt x="2700" y="1451"/>
                  <a:pt x="2658" y="1451"/>
                </a:cubicBezTo>
                <a:cubicBezTo>
                  <a:pt x="2616" y="1451"/>
                  <a:pt x="2579" y="1443"/>
                  <a:pt x="2548" y="1426"/>
                </a:cubicBezTo>
                <a:cubicBezTo>
                  <a:pt x="2548" y="1426"/>
                  <a:pt x="2548" y="1426"/>
                  <a:pt x="2548" y="1426"/>
                </a:cubicBezTo>
                <a:close/>
                <a:moveTo>
                  <a:pt x="2320" y="1502"/>
                </a:moveTo>
                <a:cubicBezTo>
                  <a:pt x="2360" y="1545"/>
                  <a:pt x="2410" y="1579"/>
                  <a:pt x="2467" y="1603"/>
                </a:cubicBezTo>
                <a:cubicBezTo>
                  <a:pt x="2525" y="1628"/>
                  <a:pt x="2589" y="1641"/>
                  <a:pt x="2658" y="1641"/>
                </a:cubicBezTo>
                <a:cubicBezTo>
                  <a:pt x="2727" y="1641"/>
                  <a:pt x="2791" y="1628"/>
                  <a:pt x="2849" y="1603"/>
                </a:cubicBezTo>
                <a:cubicBezTo>
                  <a:pt x="2906" y="1579"/>
                  <a:pt x="2955" y="1545"/>
                  <a:pt x="2996" y="1502"/>
                </a:cubicBezTo>
                <a:cubicBezTo>
                  <a:pt x="3037" y="1459"/>
                  <a:pt x="3069" y="1410"/>
                  <a:pt x="3092" y="1353"/>
                </a:cubicBezTo>
                <a:cubicBezTo>
                  <a:pt x="3115" y="1297"/>
                  <a:pt x="3126" y="1237"/>
                  <a:pt x="3126" y="1174"/>
                </a:cubicBezTo>
                <a:cubicBezTo>
                  <a:pt x="3126" y="1111"/>
                  <a:pt x="3115" y="1051"/>
                  <a:pt x="3092" y="995"/>
                </a:cubicBezTo>
                <a:cubicBezTo>
                  <a:pt x="3069" y="938"/>
                  <a:pt x="3037" y="889"/>
                  <a:pt x="2996" y="847"/>
                </a:cubicBezTo>
                <a:cubicBezTo>
                  <a:pt x="2955" y="805"/>
                  <a:pt x="2906" y="771"/>
                  <a:pt x="2849" y="746"/>
                </a:cubicBezTo>
                <a:cubicBezTo>
                  <a:pt x="2791" y="722"/>
                  <a:pt x="2727" y="709"/>
                  <a:pt x="2658" y="709"/>
                </a:cubicBezTo>
                <a:cubicBezTo>
                  <a:pt x="2589" y="709"/>
                  <a:pt x="2525" y="722"/>
                  <a:pt x="2467" y="746"/>
                </a:cubicBezTo>
                <a:cubicBezTo>
                  <a:pt x="2410" y="771"/>
                  <a:pt x="2360" y="805"/>
                  <a:pt x="2320" y="847"/>
                </a:cubicBezTo>
                <a:cubicBezTo>
                  <a:pt x="2279" y="889"/>
                  <a:pt x="2247" y="938"/>
                  <a:pt x="2224" y="995"/>
                </a:cubicBezTo>
                <a:cubicBezTo>
                  <a:pt x="2201" y="1051"/>
                  <a:pt x="2189" y="1111"/>
                  <a:pt x="2189" y="1174"/>
                </a:cubicBezTo>
                <a:cubicBezTo>
                  <a:pt x="2189" y="1237"/>
                  <a:pt x="2201" y="1297"/>
                  <a:pt x="2224" y="1353"/>
                </a:cubicBezTo>
                <a:cubicBezTo>
                  <a:pt x="2247" y="1410"/>
                  <a:pt x="2279" y="1459"/>
                  <a:pt x="2320" y="1502"/>
                </a:cubicBezTo>
                <a:close/>
                <a:moveTo>
                  <a:pt x="1868" y="1554"/>
                </a:moveTo>
                <a:cubicBezTo>
                  <a:pt x="1839" y="1588"/>
                  <a:pt x="1786" y="1642"/>
                  <a:pt x="1703" y="1642"/>
                </a:cubicBezTo>
                <a:cubicBezTo>
                  <a:pt x="1586" y="1642"/>
                  <a:pt x="1548" y="1557"/>
                  <a:pt x="1512" y="1468"/>
                </a:cubicBezTo>
                <a:cubicBezTo>
                  <a:pt x="1336" y="1035"/>
                  <a:pt x="1336" y="1035"/>
                  <a:pt x="1336" y="1035"/>
                </a:cubicBezTo>
                <a:cubicBezTo>
                  <a:pt x="1160" y="1468"/>
                  <a:pt x="1160" y="1468"/>
                  <a:pt x="1160" y="1468"/>
                </a:cubicBezTo>
                <a:cubicBezTo>
                  <a:pt x="1130" y="1542"/>
                  <a:pt x="1098" y="1642"/>
                  <a:pt x="969" y="1642"/>
                </a:cubicBezTo>
                <a:cubicBezTo>
                  <a:pt x="841" y="1642"/>
                  <a:pt x="808" y="1542"/>
                  <a:pt x="778" y="1468"/>
                </a:cubicBezTo>
                <a:cubicBezTo>
                  <a:pt x="482" y="739"/>
                  <a:pt x="482" y="739"/>
                  <a:pt x="482" y="739"/>
                </a:cubicBezTo>
                <a:cubicBezTo>
                  <a:pt x="731" y="739"/>
                  <a:pt x="731" y="739"/>
                  <a:pt x="731" y="739"/>
                </a:cubicBezTo>
                <a:cubicBezTo>
                  <a:pt x="969" y="1339"/>
                  <a:pt x="969" y="1339"/>
                  <a:pt x="969" y="1339"/>
                </a:cubicBezTo>
                <a:cubicBezTo>
                  <a:pt x="1146" y="902"/>
                  <a:pt x="1146" y="902"/>
                  <a:pt x="1146" y="902"/>
                </a:cubicBezTo>
                <a:cubicBezTo>
                  <a:pt x="1174" y="833"/>
                  <a:pt x="1208" y="728"/>
                  <a:pt x="1336" y="728"/>
                </a:cubicBezTo>
                <a:cubicBezTo>
                  <a:pt x="1463" y="728"/>
                  <a:pt x="1497" y="833"/>
                  <a:pt x="1525" y="902"/>
                </a:cubicBezTo>
                <a:cubicBezTo>
                  <a:pt x="1718" y="1375"/>
                  <a:pt x="1718" y="1375"/>
                  <a:pt x="1718" y="1375"/>
                </a:cubicBezTo>
                <a:cubicBezTo>
                  <a:pt x="1795" y="1258"/>
                  <a:pt x="1841" y="1118"/>
                  <a:pt x="1841" y="967"/>
                </a:cubicBezTo>
                <a:cubicBezTo>
                  <a:pt x="1841" y="558"/>
                  <a:pt x="1509" y="226"/>
                  <a:pt x="1100" y="226"/>
                </a:cubicBezTo>
                <a:cubicBezTo>
                  <a:pt x="866" y="226"/>
                  <a:pt x="647" y="317"/>
                  <a:pt x="482" y="482"/>
                </a:cubicBezTo>
                <a:cubicBezTo>
                  <a:pt x="317" y="647"/>
                  <a:pt x="226" y="867"/>
                  <a:pt x="226" y="1100"/>
                </a:cubicBezTo>
                <a:cubicBezTo>
                  <a:pt x="226" y="1334"/>
                  <a:pt x="317" y="1553"/>
                  <a:pt x="482" y="1718"/>
                </a:cubicBezTo>
                <a:cubicBezTo>
                  <a:pt x="647" y="1884"/>
                  <a:pt x="867" y="1975"/>
                  <a:pt x="1101" y="1975"/>
                </a:cubicBezTo>
                <a:cubicBezTo>
                  <a:pt x="1181" y="1975"/>
                  <a:pt x="1260" y="1964"/>
                  <a:pt x="1337" y="1942"/>
                </a:cubicBezTo>
                <a:cubicBezTo>
                  <a:pt x="1337" y="2174"/>
                  <a:pt x="1337" y="2174"/>
                  <a:pt x="1337" y="2174"/>
                </a:cubicBezTo>
                <a:cubicBezTo>
                  <a:pt x="1259" y="2191"/>
                  <a:pt x="1180" y="2200"/>
                  <a:pt x="1101" y="2200"/>
                </a:cubicBezTo>
                <a:cubicBezTo>
                  <a:pt x="952" y="2200"/>
                  <a:pt x="807" y="2171"/>
                  <a:pt x="672" y="2114"/>
                </a:cubicBezTo>
                <a:cubicBezTo>
                  <a:pt x="541" y="2058"/>
                  <a:pt x="423" y="1979"/>
                  <a:pt x="322" y="1878"/>
                </a:cubicBezTo>
                <a:cubicBezTo>
                  <a:pt x="221" y="1777"/>
                  <a:pt x="142" y="1659"/>
                  <a:pt x="86" y="1528"/>
                </a:cubicBezTo>
                <a:cubicBezTo>
                  <a:pt x="29" y="1393"/>
                  <a:pt x="0" y="1249"/>
                  <a:pt x="0" y="1100"/>
                </a:cubicBezTo>
                <a:cubicBezTo>
                  <a:pt x="0" y="952"/>
                  <a:pt x="29" y="808"/>
                  <a:pt x="86" y="672"/>
                </a:cubicBezTo>
                <a:cubicBezTo>
                  <a:pt x="142" y="541"/>
                  <a:pt x="221" y="423"/>
                  <a:pt x="322" y="322"/>
                </a:cubicBezTo>
                <a:cubicBezTo>
                  <a:pt x="423" y="222"/>
                  <a:pt x="541" y="142"/>
                  <a:pt x="672" y="87"/>
                </a:cubicBezTo>
                <a:cubicBezTo>
                  <a:pt x="807" y="29"/>
                  <a:pt x="951" y="0"/>
                  <a:pt x="1100" y="0"/>
                </a:cubicBezTo>
                <a:cubicBezTo>
                  <a:pt x="1634" y="0"/>
                  <a:pt x="2066" y="433"/>
                  <a:pt x="2066" y="967"/>
                </a:cubicBezTo>
                <a:cubicBezTo>
                  <a:pt x="2066" y="1188"/>
                  <a:pt x="1992" y="1391"/>
                  <a:pt x="1868" y="1554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30;p3"/>
          <p:cNvSpPr/>
          <p:nvPr/>
        </p:nvSpPr>
        <p:spPr>
          <a:xfrm>
            <a:off x="-1" y="0"/>
            <a:ext cx="12192001" cy="6857998"/>
          </a:xfrm>
          <a:custGeom>
            <a:avLst/>
            <a:gdLst/>
            <a:ahLst/>
            <a:cxnLst/>
            <a:rect l="l" t="t" r="r" b="b"/>
            <a:pathLst>
              <a:path w="12192001" h="6857998" extrusionOk="0">
                <a:moveTo>
                  <a:pt x="0" y="4735273"/>
                </a:moveTo>
                <a:lnTo>
                  <a:pt x="148186" y="5069007"/>
                </a:lnTo>
                <a:cubicBezTo>
                  <a:pt x="445618" y="5696692"/>
                  <a:pt x="824800" y="6287076"/>
                  <a:pt x="1279898" y="6826759"/>
                </a:cubicBezTo>
                <a:lnTo>
                  <a:pt x="1307407" y="6857998"/>
                </a:lnTo>
                <a:lnTo>
                  <a:pt x="0" y="6857998"/>
                </a:lnTo>
                <a:close/>
                <a:moveTo>
                  <a:pt x="2479307" y="0"/>
                </a:moveTo>
                <a:lnTo>
                  <a:pt x="4785738" y="0"/>
                </a:lnTo>
                <a:lnTo>
                  <a:pt x="4809321" y="59638"/>
                </a:lnTo>
                <a:cubicBezTo>
                  <a:pt x="6291896" y="3808832"/>
                  <a:pt x="6291896" y="3808832"/>
                  <a:pt x="6291896" y="3808832"/>
                </a:cubicBezTo>
                <a:cubicBezTo>
                  <a:pt x="7272495" y="1386789"/>
                  <a:pt x="7670863" y="402833"/>
                  <a:pt x="7832699" y="3102"/>
                </a:cubicBezTo>
                <a:lnTo>
                  <a:pt x="7833955" y="0"/>
                </a:lnTo>
                <a:lnTo>
                  <a:pt x="11587269" y="0"/>
                </a:lnTo>
                <a:lnTo>
                  <a:pt x="11640360" y="131036"/>
                </a:lnTo>
                <a:cubicBezTo>
                  <a:pt x="11843812" y="633183"/>
                  <a:pt x="12021833" y="1072562"/>
                  <a:pt x="12177600" y="1457019"/>
                </a:cubicBezTo>
                <a:lnTo>
                  <a:pt x="12192001" y="1492562"/>
                </a:lnTo>
                <a:lnTo>
                  <a:pt x="12192001" y="6354106"/>
                </a:lnTo>
                <a:lnTo>
                  <a:pt x="12175060" y="6342587"/>
                </a:lnTo>
                <a:cubicBezTo>
                  <a:pt x="11775402" y="6037479"/>
                  <a:pt x="11558638" y="5533190"/>
                  <a:pt x="11352196" y="5013304"/>
                </a:cubicBezTo>
                <a:cubicBezTo>
                  <a:pt x="9707268" y="967345"/>
                  <a:pt x="9707268" y="967345"/>
                  <a:pt x="9707268" y="967345"/>
                </a:cubicBezTo>
                <a:cubicBezTo>
                  <a:pt x="8075553" y="5013304"/>
                  <a:pt x="8075553" y="5013304"/>
                  <a:pt x="8075553" y="5013304"/>
                </a:cubicBezTo>
                <a:cubicBezTo>
                  <a:pt x="7798095" y="5705375"/>
                  <a:pt x="7494213" y="6637011"/>
                  <a:pt x="6298502" y="6637011"/>
                </a:cubicBezTo>
                <a:cubicBezTo>
                  <a:pt x="5096186" y="6637011"/>
                  <a:pt x="4792303" y="5705375"/>
                  <a:pt x="4514845" y="5013304"/>
                </a:cubicBezTo>
                <a:cubicBezTo>
                  <a:pt x="3565626" y="2675482"/>
                  <a:pt x="2942701" y="1141286"/>
                  <a:pt x="2533906" y="134470"/>
                </a:cubicBezTo>
                <a:close/>
              </a:path>
            </a:pathLst>
          </a:custGeom>
          <a:solidFill>
            <a:srgbClr val="FFFFFF">
              <a:alpha val="196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81162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White">
  <p:cSld name="Section Header White">
    <p:bg>
      <p:bgPr>
        <a:solidFill>
          <a:schemeClr val="lt2"/>
        </a:solidFill>
        <a:effectLst/>
      </p:bgPr>
    </p:bg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4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"/>
          <p:cNvSpPr txBox="1">
            <a:spLocks noGrp="1"/>
          </p:cNvSpPr>
          <p:nvPr>
            <p:ph type="sldNum" idx="12"/>
          </p:nvPr>
        </p:nvSpPr>
        <p:spPr>
          <a:xfrm>
            <a:off x="11460118" y="7200198"/>
            <a:ext cx="731582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grpSp>
        <p:nvGrpSpPr>
          <p:cNvPr id="34" name="Google Shape;34;p4"/>
          <p:cNvGrpSpPr/>
          <p:nvPr/>
        </p:nvGrpSpPr>
        <p:grpSpPr>
          <a:xfrm>
            <a:off x="10696332" y="6192882"/>
            <a:ext cx="766723" cy="247496"/>
            <a:chOff x="10717975" y="6060934"/>
            <a:chExt cx="766742" cy="247496"/>
          </a:xfrm>
        </p:grpSpPr>
        <p:sp>
          <p:nvSpPr>
            <p:cNvPr id="35" name="Google Shape;35;p4"/>
            <p:cNvSpPr/>
            <p:nvPr/>
          </p:nvSpPr>
          <p:spPr>
            <a:xfrm>
              <a:off x="10717975" y="6222991"/>
              <a:ext cx="766742" cy="85439"/>
            </a:xfrm>
            <a:custGeom>
              <a:avLst/>
              <a:gdLst/>
              <a:ahLst/>
              <a:cxnLst/>
              <a:rect l="l" t="t" r="r" b="b"/>
              <a:pathLst>
                <a:path w="4110" h="452" extrusionOk="0">
                  <a:moveTo>
                    <a:pt x="319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2" y="9"/>
                    <a:pt x="0" y="11"/>
                    <a:pt x="0" y="15"/>
                  </a:cubicBezTo>
                  <a:cubicBezTo>
                    <a:pt x="0" y="438"/>
                    <a:pt x="0" y="438"/>
                    <a:pt x="0" y="438"/>
                  </a:cubicBezTo>
                  <a:cubicBezTo>
                    <a:pt x="0" y="442"/>
                    <a:pt x="2" y="444"/>
                    <a:pt x="6" y="444"/>
                  </a:cubicBezTo>
                  <a:cubicBezTo>
                    <a:pt x="67" y="444"/>
                    <a:pt x="67" y="444"/>
                    <a:pt x="67" y="444"/>
                  </a:cubicBezTo>
                  <a:cubicBezTo>
                    <a:pt x="71" y="444"/>
                    <a:pt x="74" y="442"/>
                    <a:pt x="74" y="438"/>
                  </a:cubicBezTo>
                  <a:cubicBezTo>
                    <a:pt x="74" y="265"/>
                    <a:pt x="74" y="265"/>
                    <a:pt x="74" y="265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0" y="265"/>
                    <a:pt x="283" y="262"/>
                    <a:pt x="283" y="259"/>
                  </a:cubicBezTo>
                  <a:cubicBezTo>
                    <a:pt x="283" y="201"/>
                    <a:pt x="283" y="201"/>
                    <a:pt x="283" y="201"/>
                  </a:cubicBezTo>
                  <a:cubicBezTo>
                    <a:pt x="283" y="198"/>
                    <a:pt x="280" y="195"/>
                    <a:pt x="277" y="195"/>
                  </a:cubicBezTo>
                  <a:cubicBezTo>
                    <a:pt x="74" y="195"/>
                    <a:pt x="74" y="195"/>
                    <a:pt x="74" y="195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319" y="78"/>
                    <a:pt x="319" y="78"/>
                    <a:pt x="319" y="78"/>
                  </a:cubicBezTo>
                  <a:cubicBezTo>
                    <a:pt x="323" y="78"/>
                    <a:pt x="326" y="76"/>
                    <a:pt x="326" y="72"/>
                  </a:cubicBezTo>
                  <a:cubicBezTo>
                    <a:pt x="326" y="15"/>
                    <a:pt x="326" y="15"/>
                    <a:pt x="326" y="15"/>
                  </a:cubicBezTo>
                  <a:cubicBezTo>
                    <a:pt x="326" y="11"/>
                    <a:pt x="323" y="9"/>
                    <a:pt x="319" y="9"/>
                  </a:cubicBezTo>
                  <a:close/>
                  <a:moveTo>
                    <a:pt x="673" y="17"/>
                  </a:moveTo>
                  <a:cubicBezTo>
                    <a:pt x="671" y="11"/>
                    <a:pt x="667" y="9"/>
                    <a:pt x="661" y="9"/>
                  </a:cubicBezTo>
                  <a:cubicBezTo>
                    <a:pt x="573" y="9"/>
                    <a:pt x="573" y="9"/>
                    <a:pt x="573" y="9"/>
                  </a:cubicBezTo>
                  <a:cubicBezTo>
                    <a:pt x="567" y="9"/>
                    <a:pt x="564" y="11"/>
                    <a:pt x="561" y="17"/>
                  </a:cubicBezTo>
                  <a:cubicBezTo>
                    <a:pt x="501" y="145"/>
                    <a:pt x="441" y="298"/>
                    <a:pt x="402" y="437"/>
                  </a:cubicBezTo>
                  <a:cubicBezTo>
                    <a:pt x="400" y="442"/>
                    <a:pt x="403" y="444"/>
                    <a:pt x="407" y="444"/>
                  </a:cubicBezTo>
                  <a:cubicBezTo>
                    <a:pt x="473" y="444"/>
                    <a:pt x="473" y="444"/>
                    <a:pt x="473" y="444"/>
                  </a:cubicBezTo>
                  <a:cubicBezTo>
                    <a:pt x="476" y="444"/>
                    <a:pt x="479" y="442"/>
                    <a:pt x="480" y="438"/>
                  </a:cubicBezTo>
                  <a:cubicBezTo>
                    <a:pt x="488" y="403"/>
                    <a:pt x="499" y="365"/>
                    <a:pt x="512" y="327"/>
                  </a:cubicBezTo>
                  <a:cubicBezTo>
                    <a:pt x="720" y="327"/>
                    <a:pt x="720" y="327"/>
                    <a:pt x="720" y="327"/>
                  </a:cubicBezTo>
                  <a:cubicBezTo>
                    <a:pt x="732" y="365"/>
                    <a:pt x="743" y="403"/>
                    <a:pt x="752" y="438"/>
                  </a:cubicBezTo>
                  <a:cubicBezTo>
                    <a:pt x="753" y="442"/>
                    <a:pt x="756" y="444"/>
                    <a:pt x="759" y="444"/>
                  </a:cubicBezTo>
                  <a:cubicBezTo>
                    <a:pt x="827" y="444"/>
                    <a:pt x="827" y="444"/>
                    <a:pt x="827" y="444"/>
                  </a:cubicBezTo>
                  <a:cubicBezTo>
                    <a:pt x="832" y="444"/>
                    <a:pt x="834" y="442"/>
                    <a:pt x="833" y="437"/>
                  </a:cubicBezTo>
                  <a:cubicBezTo>
                    <a:pt x="793" y="298"/>
                    <a:pt x="734" y="145"/>
                    <a:pt x="673" y="17"/>
                  </a:cubicBezTo>
                  <a:close/>
                  <a:moveTo>
                    <a:pt x="534" y="260"/>
                  </a:moveTo>
                  <a:cubicBezTo>
                    <a:pt x="557" y="197"/>
                    <a:pt x="583" y="134"/>
                    <a:pt x="608" y="77"/>
                  </a:cubicBezTo>
                  <a:cubicBezTo>
                    <a:pt x="623" y="77"/>
                    <a:pt x="623" y="77"/>
                    <a:pt x="623" y="77"/>
                  </a:cubicBezTo>
                  <a:cubicBezTo>
                    <a:pt x="649" y="134"/>
                    <a:pt x="674" y="197"/>
                    <a:pt x="697" y="260"/>
                  </a:cubicBezTo>
                  <a:lnTo>
                    <a:pt x="534" y="260"/>
                  </a:lnTo>
                  <a:close/>
                  <a:moveTo>
                    <a:pt x="1164" y="0"/>
                  </a:moveTo>
                  <a:cubicBezTo>
                    <a:pt x="1154" y="0"/>
                    <a:pt x="1154" y="0"/>
                    <a:pt x="1154" y="0"/>
                  </a:cubicBezTo>
                  <a:cubicBezTo>
                    <a:pt x="1027" y="0"/>
                    <a:pt x="939" y="95"/>
                    <a:pt x="939" y="230"/>
                  </a:cubicBezTo>
                  <a:cubicBezTo>
                    <a:pt x="939" y="363"/>
                    <a:pt x="1024" y="452"/>
                    <a:pt x="1153" y="452"/>
                  </a:cubicBezTo>
                  <a:cubicBezTo>
                    <a:pt x="1163" y="452"/>
                    <a:pt x="1163" y="452"/>
                    <a:pt x="1163" y="452"/>
                  </a:cubicBezTo>
                  <a:cubicBezTo>
                    <a:pt x="1238" y="452"/>
                    <a:pt x="1301" y="421"/>
                    <a:pt x="1335" y="371"/>
                  </a:cubicBezTo>
                  <a:cubicBezTo>
                    <a:pt x="1336" y="369"/>
                    <a:pt x="1337" y="368"/>
                    <a:pt x="1337" y="366"/>
                  </a:cubicBezTo>
                  <a:cubicBezTo>
                    <a:pt x="1337" y="364"/>
                    <a:pt x="1336" y="363"/>
                    <a:pt x="1334" y="362"/>
                  </a:cubicBezTo>
                  <a:cubicBezTo>
                    <a:pt x="1278" y="334"/>
                    <a:pt x="1278" y="334"/>
                    <a:pt x="1278" y="334"/>
                  </a:cubicBezTo>
                  <a:cubicBezTo>
                    <a:pt x="1274" y="332"/>
                    <a:pt x="1270" y="333"/>
                    <a:pt x="1267" y="336"/>
                  </a:cubicBezTo>
                  <a:cubicBezTo>
                    <a:pt x="1244" y="363"/>
                    <a:pt x="1214" y="381"/>
                    <a:pt x="1161" y="381"/>
                  </a:cubicBezTo>
                  <a:cubicBezTo>
                    <a:pt x="1152" y="381"/>
                    <a:pt x="1152" y="381"/>
                    <a:pt x="1152" y="381"/>
                  </a:cubicBezTo>
                  <a:cubicBezTo>
                    <a:pt x="1071" y="381"/>
                    <a:pt x="1017" y="319"/>
                    <a:pt x="1017" y="227"/>
                  </a:cubicBezTo>
                  <a:cubicBezTo>
                    <a:pt x="1017" y="135"/>
                    <a:pt x="1072" y="71"/>
                    <a:pt x="1152" y="71"/>
                  </a:cubicBezTo>
                  <a:cubicBezTo>
                    <a:pt x="1161" y="71"/>
                    <a:pt x="1161" y="71"/>
                    <a:pt x="1161" y="71"/>
                  </a:cubicBezTo>
                  <a:cubicBezTo>
                    <a:pt x="1212" y="71"/>
                    <a:pt x="1247" y="93"/>
                    <a:pt x="1270" y="132"/>
                  </a:cubicBezTo>
                  <a:cubicBezTo>
                    <a:pt x="1272" y="137"/>
                    <a:pt x="1277" y="137"/>
                    <a:pt x="1281" y="135"/>
                  </a:cubicBezTo>
                  <a:cubicBezTo>
                    <a:pt x="1335" y="108"/>
                    <a:pt x="1335" y="108"/>
                    <a:pt x="1335" y="108"/>
                  </a:cubicBezTo>
                  <a:cubicBezTo>
                    <a:pt x="1339" y="106"/>
                    <a:pt x="1340" y="103"/>
                    <a:pt x="1338" y="99"/>
                  </a:cubicBezTo>
                  <a:cubicBezTo>
                    <a:pt x="1305" y="41"/>
                    <a:pt x="1243" y="0"/>
                    <a:pt x="1164" y="0"/>
                  </a:cubicBezTo>
                  <a:close/>
                  <a:moveTo>
                    <a:pt x="1827" y="374"/>
                  </a:moveTo>
                  <a:cubicBezTo>
                    <a:pt x="1568" y="374"/>
                    <a:pt x="1568" y="374"/>
                    <a:pt x="1568" y="374"/>
                  </a:cubicBezTo>
                  <a:cubicBezTo>
                    <a:pt x="1568" y="260"/>
                    <a:pt x="1568" y="260"/>
                    <a:pt x="1568" y="260"/>
                  </a:cubicBezTo>
                  <a:cubicBezTo>
                    <a:pt x="1774" y="260"/>
                    <a:pt x="1774" y="260"/>
                    <a:pt x="1774" y="260"/>
                  </a:cubicBezTo>
                  <a:cubicBezTo>
                    <a:pt x="1778" y="260"/>
                    <a:pt x="1780" y="258"/>
                    <a:pt x="1780" y="254"/>
                  </a:cubicBezTo>
                  <a:cubicBezTo>
                    <a:pt x="1780" y="198"/>
                    <a:pt x="1780" y="198"/>
                    <a:pt x="1780" y="198"/>
                  </a:cubicBezTo>
                  <a:cubicBezTo>
                    <a:pt x="1780" y="194"/>
                    <a:pt x="1778" y="191"/>
                    <a:pt x="1774" y="191"/>
                  </a:cubicBezTo>
                  <a:cubicBezTo>
                    <a:pt x="1568" y="191"/>
                    <a:pt x="1568" y="191"/>
                    <a:pt x="1568" y="191"/>
                  </a:cubicBezTo>
                  <a:cubicBezTo>
                    <a:pt x="1568" y="78"/>
                    <a:pt x="1568" y="78"/>
                    <a:pt x="1568" y="78"/>
                  </a:cubicBezTo>
                  <a:cubicBezTo>
                    <a:pt x="1821" y="78"/>
                    <a:pt x="1821" y="78"/>
                    <a:pt x="1821" y="78"/>
                  </a:cubicBezTo>
                  <a:cubicBezTo>
                    <a:pt x="1825" y="78"/>
                    <a:pt x="1828" y="76"/>
                    <a:pt x="1828" y="72"/>
                  </a:cubicBezTo>
                  <a:cubicBezTo>
                    <a:pt x="1828" y="15"/>
                    <a:pt x="1828" y="15"/>
                    <a:pt x="1828" y="15"/>
                  </a:cubicBezTo>
                  <a:cubicBezTo>
                    <a:pt x="1828" y="11"/>
                    <a:pt x="1825" y="9"/>
                    <a:pt x="1821" y="9"/>
                  </a:cubicBezTo>
                  <a:cubicBezTo>
                    <a:pt x="1500" y="9"/>
                    <a:pt x="1500" y="9"/>
                    <a:pt x="1500" y="9"/>
                  </a:cubicBezTo>
                  <a:cubicBezTo>
                    <a:pt x="1497" y="9"/>
                    <a:pt x="1494" y="11"/>
                    <a:pt x="1494" y="15"/>
                  </a:cubicBezTo>
                  <a:cubicBezTo>
                    <a:pt x="1494" y="438"/>
                    <a:pt x="1494" y="438"/>
                    <a:pt x="1494" y="438"/>
                  </a:cubicBezTo>
                  <a:cubicBezTo>
                    <a:pt x="1494" y="442"/>
                    <a:pt x="1497" y="444"/>
                    <a:pt x="1500" y="444"/>
                  </a:cubicBezTo>
                  <a:cubicBezTo>
                    <a:pt x="1827" y="444"/>
                    <a:pt x="1827" y="444"/>
                    <a:pt x="1827" y="444"/>
                  </a:cubicBezTo>
                  <a:cubicBezTo>
                    <a:pt x="1831" y="444"/>
                    <a:pt x="1833" y="442"/>
                    <a:pt x="1833" y="438"/>
                  </a:cubicBezTo>
                  <a:cubicBezTo>
                    <a:pt x="1833" y="381"/>
                    <a:pt x="1833" y="381"/>
                    <a:pt x="1833" y="381"/>
                  </a:cubicBezTo>
                  <a:cubicBezTo>
                    <a:pt x="1833" y="377"/>
                    <a:pt x="1831" y="374"/>
                    <a:pt x="1827" y="374"/>
                  </a:cubicBezTo>
                  <a:close/>
                  <a:moveTo>
                    <a:pt x="2297" y="215"/>
                  </a:moveTo>
                  <a:cubicBezTo>
                    <a:pt x="2346" y="200"/>
                    <a:pt x="2370" y="169"/>
                    <a:pt x="2370" y="121"/>
                  </a:cubicBezTo>
                  <a:cubicBezTo>
                    <a:pt x="2370" y="48"/>
                    <a:pt x="2315" y="9"/>
                    <a:pt x="2215" y="9"/>
                  </a:cubicBezTo>
                  <a:cubicBezTo>
                    <a:pt x="2020" y="9"/>
                    <a:pt x="2020" y="9"/>
                    <a:pt x="2020" y="9"/>
                  </a:cubicBezTo>
                  <a:cubicBezTo>
                    <a:pt x="2016" y="9"/>
                    <a:pt x="2014" y="11"/>
                    <a:pt x="2014" y="15"/>
                  </a:cubicBezTo>
                  <a:cubicBezTo>
                    <a:pt x="2014" y="438"/>
                    <a:pt x="2014" y="438"/>
                    <a:pt x="2014" y="438"/>
                  </a:cubicBezTo>
                  <a:cubicBezTo>
                    <a:pt x="2014" y="442"/>
                    <a:pt x="2016" y="444"/>
                    <a:pt x="2020" y="444"/>
                  </a:cubicBezTo>
                  <a:cubicBezTo>
                    <a:pt x="2234" y="444"/>
                    <a:pt x="2234" y="444"/>
                    <a:pt x="2234" y="444"/>
                  </a:cubicBezTo>
                  <a:cubicBezTo>
                    <a:pt x="2337" y="444"/>
                    <a:pt x="2396" y="401"/>
                    <a:pt x="2396" y="325"/>
                  </a:cubicBezTo>
                  <a:cubicBezTo>
                    <a:pt x="2396" y="271"/>
                    <a:pt x="2366" y="230"/>
                    <a:pt x="2297" y="215"/>
                  </a:cubicBezTo>
                  <a:close/>
                  <a:moveTo>
                    <a:pt x="2088" y="76"/>
                  </a:moveTo>
                  <a:cubicBezTo>
                    <a:pt x="2213" y="76"/>
                    <a:pt x="2213" y="76"/>
                    <a:pt x="2213" y="76"/>
                  </a:cubicBezTo>
                  <a:cubicBezTo>
                    <a:pt x="2270" y="76"/>
                    <a:pt x="2295" y="95"/>
                    <a:pt x="2295" y="135"/>
                  </a:cubicBezTo>
                  <a:cubicBezTo>
                    <a:pt x="2295" y="175"/>
                    <a:pt x="2270" y="193"/>
                    <a:pt x="2213" y="193"/>
                  </a:cubicBezTo>
                  <a:cubicBezTo>
                    <a:pt x="2088" y="193"/>
                    <a:pt x="2088" y="193"/>
                    <a:pt x="2088" y="193"/>
                  </a:cubicBezTo>
                  <a:lnTo>
                    <a:pt x="2088" y="76"/>
                  </a:lnTo>
                  <a:close/>
                  <a:moveTo>
                    <a:pt x="2234" y="376"/>
                  </a:moveTo>
                  <a:cubicBezTo>
                    <a:pt x="2088" y="376"/>
                    <a:pt x="2088" y="376"/>
                    <a:pt x="2088" y="376"/>
                  </a:cubicBezTo>
                  <a:cubicBezTo>
                    <a:pt x="2088" y="259"/>
                    <a:pt x="2088" y="259"/>
                    <a:pt x="2088" y="259"/>
                  </a:cubicBezTo>
                  <a:cubicBezTo>
                    <a:pt x="2234" y="259"/>
                    <a:pt x="2234" y="259"/>
                    <a:pt x="2234" y="259"/>
                  </a:cubicBezTo>
                  <a:cubicBezTo>
                    <a:pt x="2293" y="259"/>
                    <a:pt x="2320" y="278"/>
                    <a:pt x="2320" y="318"/>
                  </a:cubicBezTo>
                  <a:cubicBezTo>
                    <a:pt x="2320" y="359"/>
                    <a:pt x="2294" y="376"/>
                    <a:pt x="2234" y="376"/>
                  </a:cubicBezTo>
                  <a:close/>
                  <a:moveTo>
                    <a:pt x="2759" y="0"/>
                  </a:moveTo>
                  <a:cubicBezTo>
                    <a:pt x="2750" y="0"/>
                    <a:pt x="2750" y="0"/>
                    <a:pt x="2750" y="0"/>
                  </a:cubicBezTo>
                  <a:cubicBezTo>
                    <a:pt x="2613" y="0"/>
                    <a:pt x="2526" y="95"/>
                    <a:pt x="2526" y="226"/>
                  </a:cubicBezTo>
                  <a:cubicBezTo>
                    <a:pt x="2526" y="358"/>
                    <a:pt x="2613" y="452"/>
                    <a:pt x="2750" y="452"/>
                  </a:cubicBezTo>
                  <a:cubicBezTo>
                    <a:pt x="2759" y="452"/>
                    <a:pt x="2759" y="452"/>
                    <a:pt x="2759" y="452"/>
                  </a:cubicBezTo>
                  <a:cubicBezTo>
                    <a:pt x="2896" y="452"/>
                    <a:pt x="2983" y="358"/>
                    <a:pt x="2983" y="226"/>
                  </a:cubicBezTo>
                  <a:cubicBezTo>
                    <a:pt x="2983" y="95"/>
                    <a:pt x="2896" y="0"/>
                    <a:pt x="2759" y="0"/>
                  </a:cubicBezTo>
                  <a:close/>
                  <a:moveTo>
                    <a:pt x="2759" y="381"/>
                  </a:moveTo>
                  <a:cubicBezTo>
                    <a:pt x="2750" y="381"/>
                    <a:pt x="2750" y="381"/>
                    <a:pt x="2750" y="381"/>
                  </a:cubicBezTo>
                  <a:cubicBezTo>
                    <a:pt x="2661" y="381"/>
                    <a:pt x="2604" y="320"/>
                    <a:pt x="2604" y="226"/>
                  </a:cubicBezTo>
                  <a:cubicBezTo>
                    <a:pt x="2604" y="133"/>
                    <a:pt x="2661" y="71"/>
                    <a:pt x="2750" y="71"/>
                  </a:cubicBezTo>
                  <a:cubicBezTo>
                    <a:pt x="2759" y="71"/>
                    <a:pt x="2759" y="71"/>
                    <a:pt x="2759" y="71"/>
                  </a:cubicBezTo>
                  <a:cubicBezTo>
                    <a:pt x="2849" y="71"/>
                    <a:pt x="2905" y="133"/>
                    <a:pt x="2905" y="226"/>
                  </a:cubicBezTo>
                  <a:cubicBezTo>
                    <a:pt x="2905" y="320"/>
                    <a:pt x="2849" y="381"/>
                    <a:pt x="2759" y="381"/>
                  </a:cubicBezTo>
                  <a:close/>
                  <a:moveTo>
                    <a:pt x="3343" y="0"/>
                  </a:moveTo>
                  <a:cubicBezTo>
                    <a:pt x="3334" y="0"/>
                    <a:pt x="3334" y="0"/>
                    <a:pt x="3334" y="0"/>
                  </a:cubicBezTo>
                  <a:cubicBezTo>
                    <a:pt x="3197" y="0"/>
                    <a:pt x="3110" y="95"/>
                    <a:pt x="3110" y="226"/>
                  </a:cubicBezTo>
                  <a:cubicBezTo>
                    <a:pt x="3110" y="358"/>
                    <a:pt x="3197" y="452"/>
                    <a:pt x="3334" y="452"/>
                  </a:cubicBezTo>
                  <a:cubicBezTo>
                    <a:pt x="3343" y="452"/>
                    <a:pt x="3343" y="452"/>
                    <a:pt x="3343" y="452"/>
                  </a:cubicBezTo>
                  <a:cubicBezTo>
                    <a:pt x="3480" y="452"/>
                    <a:pt x="3567" y="358"/>
                    <a:pt x="3567" y="226"/>
                  </a:cubicBezTo>
                  <a:cubicBezTo>
                    <a:pt x="3567" y="95"/>
                    <a:pt x="3480" y="0"/>
                    <a:pt x="3343" y="0"/>
                  </a:cubicBezTo>
                  <a:close/>
                  <a:moveTo>
                    <a:pt x="3343" y="381"/>
                  </a:moveTo>
                  <a:cubicBezTo>
                    <a:pt x="3334" y="381"/>
                    <a:pt x="3334" y="381"/>
                    <a:pt x="3334" y="381"/>
                  </a:cubicBezTo>
                  <a:cubicBezTo>
                    <a:pt x="3244" y="381"/>
                    <a:pt x="3188" y="320"/>
                    <a:pt x="3188" y="226"/>
                  </a:cubicBezTo>
                  <a:cubicBezTo>
                    <a:pt x="3188" y="133"/>
                    <a:pt x="3244" y="71"/>
                    <a:pt x="3334" y="71"/>
                  </a:cubicBezTo>
                  <a:cubicBezTo>
                    <a:pt x="3343" y="71"/>
                    <a:pt x="3343" y="71"/>
                    <a:pt x="3343" y="71"/>
                  </a:cubicBezTo>
                  <a:cubicBezTo>
                    <a:pt x="3432" y="71"/>
                    <a:pt x="3488" y="133"/>
                    <a:pt x="3488" y="226"/>
                  </a:cubicBezTo>
                  <a:cubicBezTo>
                    <a:pt x="3488" y="320"/>
                    <a:pt x="3432" y="381"/>
                    <a:pt x="3343" y="381"/>
                  </a:cubicBezTo>
                  <a:close/>
                  <a:moveTo>
                    <a:pt x="4107" y="436"/>
                  </a:moveTo>
                  <a:cubicBezTo>
                    <a:pt x="4040" y="358"/>
                    <a:pt x="3967" y="285"/>
                    <a:pt x="3890" y="220"/>
                  </a:cubicBezTo>
                  <a:cubicBezTo>
                    <a:pt x="3951" y="167"/>
                    <a:pt x="4018" y="100"/>
                    <a:pt x="4085" y="18"/>
                  </a:cubicBezTo>
                  <a:cubicBezTo>
                    <a:pt x="4086" y="16"/>
                    <a:pt x="4087" y="14"/>
                    <a:pt x="4087" y="13"/>
                  </a:cubicBezTo>
                  <a:cubicBezTo>
                    <a:pt x="4087" y="10"/>
                    <a:pt x="4085" y="9"/>
                    <a:pt x="4081" y="9"/>
                  </a:cubicBezTo>
                  <a:cubicBezTo>
                    <a:pt x="4005" y="9"/>
                    <a:pt x="4005" y="9"/>
                    <a:pt x="4005" y="9"/>
                  </a:cubicBezTo>
                  <a:cubicBezTo>
                    <a:pt x="4001" y="9"/>
                    <a:pt x="3999" y="9"/>
                    <a:pt x="3996" y="13"/>
                  </a:cubicBezTo>
                  <a:cubicBezTo>
                    <a:pt x="3950" y="73"/>
                    <a:pt x="3894" y="132"/>
                    <a:pt x="3833" y="186"/>
                  </a:cubicBezTo>
                  <a:cubicBezTo>
                    <a:pt x="3797" y="186"/>
                    <a:pt x="3797" y="186"/>
                    <a:pt x="3797" y="186"/>
                  </a:cubicBezTo>
                  <a:cubicBezTo>
                    <a:pt x="3797" y="15"/>
                    <a:pt x="3797" y="15"/>
                    <a:pt x="3797" y="15"/>
                  </a:cubicBezTo>
                  <a:cubicBezTo>
                    <a:pt x="3797" y="11"/>
                    <a:pt x="3794" y="9"/>
                    <a:pt x="3791" y="9"/>
                  </a:cubicBezTo>
                  <a:cubicBezTo>
                    <a:pt x="3729" y="9"/>
                    <a:pt x="3729" y="9"/>
                    <a:pt x="3729" y="9"/>
                  </a:cubicBezTo>
                  <a:cubicBezTo>
                    <a:pt x="3725" y="9"/>
                    <a:pt x="3723" y="11"/>
                    <a:pt x="3723" y="15"/>
                  </a:cubicBezTo>
                  <a:cubicBezTo>
                    <a:pt x="3723" y="438"/>
                    <a:pt x="3723" y="438"/>
                    <a:pt x="3723" y="438"/>
                  </a:cubicBezTo>
                  <a:cubicBezTo>
                    <a:pt x="3723" y="442"/>
                    <a:pt x="3725" y="444"/>
                    <a:pt x="3729" y="444"/>
                  </a:cubicBezTo>
                  <a:cubicBezTo>
                    <a:pt x="3791" y="444"/>
                    <a:pt x="3791" y="444"/>
                    <a:pt x="3791" y="444"/>
                  </a:cubicBezTo>
                  <a:cubicBezTo>
                    <a:pt x="3794" y="444"/>
                    <a:pt x="3797" y="442"/>
                    <a:pt x="3797" y="438"/>
                  </a:cubicBezTo>
                  <a:cubicBezTo>
                    <a:pt x="3797" y="258"/>
                    <a:pt x="3797" y="258"/>
                    <a:pt x="3797" y="258"/>
                  </a:cubicBezTo>
                  <a:cubicBezTo>
                    <a:pt x="3833" y="258"/>
                    <a:pt x="3833" y="258"/>
                    <a:pt x="3833" y="258"/>
                  </a:cubicBezTo>
                  <a:cubicBezTo>
                    <a:pt x="3889" y="307"/>
                    <a:pt x="3956" y="372"/>
                    <a:pt x="4012" y="439"/>
                  </a:cubicBezTo>
                  <a:cubicBezTo>
                    <a:pt x="4016" y="443"/>
                    <a:pt x="4018" y="444"/>
                    <a:pt x="4023" y="444"/>
                  </a:cubicBezTo>
                  <a:cubicBezTo>
                    <a:pt x="4104" y="444"/>
                    <a:pt x="4104" y="444"/>
                    <a:pt x="4104" y="444"/>
                  </a:cubicBezTo>
                  <a:cubicBezTo>
                    <a:pt x="4108" y="444"/>
                    <a:pt x="4110" y="440"/>
                    <a:pt x="4107" y="43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Mukta ExtraLight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6" name="Google Shape;36;p4"/>
            <p:cNvGrpSpPr/>
            <p:nvPr/>
          </p:nvGrpSpPr>
          <p:grpSpPr>
            <a:xfrm>
              <a:off x="11233914" y="6060934"/>
              <a:ext cx="250803" cy="83234"/>
              <a:chOff x="10972086" y="6060934"/>
              <a:chExt cx="250803" cy="83234"/>
            </a:xfrm>
          </p:grpSpPr>
          <p:sp>
            <p:nvSpPr>
              <p:cNvPr id="37" name="Google Shape;37;p4"/>
              <p:cNvSpPr/>
              <p:nvPr/>
            </p:nvSpPr>
            <p:spPr>
              <a:xfrm>
                <a:off x="10972086" y="6060934"/>
                <a:ext cx="36380" cy="82131"/>
              </a:xfrm>
              <a:custGeom>
                <a:avLst/>
                <a:gdLst/>
                <a:ahLst/>
                <a:cxnLst/>
                <a:rect l="l" t="t" r="r" b="b"/>
                <a:pathLst>
                  <a:path w="194" h="437" extrusionOk="0">
                    <a:moveTo>
                      <a:pt x="116" y="56"/>
                    </a:moveTo>
                    <a:cubicBezTo>
                      <a:pt x="106" y="66"/>
                      <a:pt x="101" y="81"/>
                      <a:pt x="101" y="102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94" y="143"/>
                      <a:pt x="194" y="143"/>
                      <a:pt x="194" y="143"/>
                    </a:cubicBezTo>
                    <a:cubicBezTo>
                      <a:pt x="194" y="182"/>
                      <a:pt x="194" y="182"/>
                      <a:pt x="194" y="182"/>
                    </a:cubicBezTo>
                    <a:cubicBezTo>
                      <a:pt x="101" y="182"/>
                      <a:pt x="101" y="182"/>
                      <a:pt x="101" y="182"/>
                    </a:cubicBezTo>
                    <a:cubicBezTo>
                      <a:pt x="101" y="437"/>
                      <a:pt x="101" y="437"/>
                      <a:pt x="101" y="437"/>
                    </a:cubicBezTo>
                    <a:cubicBezTo>
                      <a:pt x="56" y="437"/>
                      <a:pt x="56" y="437"/>
                      <a:pt x="56" y="437"/>
                    </a:cubicBezTo>
                    <a:cubicBezTo>
                      <a:pt x="56" y="182"/>
                      <a:pt x="56" y="182"/>
                      <a:pt x="56" y="182"/>
                    </a:cubicBezTo>
                    <a:cubicBezTo>
                      <a:pt x="0" y="182"/>
                      <a:pt x="0" y="182"/>
                      <a:pt x="0" y="182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56" y="143"/>
                      <a:pt x="56" y="143"/>
                      <a:pt x="56" y="143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6" y="83"/>
                      <a:pt x="60" y="64"/>
                      <a:pt x="67" y="48"/>
                    </a:cubicBezTo>
                    <a:cubicBezTo>
                      <a:pt x="75" y="32"/>
                      <a:pt x="86" y="20"/>
                      <a:pt x="100" y="12"/>
                    </a:cubicBezTo>
                    <a:cubicBezTo>
                      <a:pt x="115" y="4"/>
                      <a:pt x="131" y="0"/>
                      <a:pt x="150" y="0"/>
                    </a:cubicBezTo>
                    <a:cubicBezTo>
                      <a:pt x="165" y="0"/>
                      <a:pt x="180" y="2"/>
                      <a:pt x="194" y="5"/>
                    </a:cubicBezTo>
                    <a:cubicBezTo>
                      <a:pt x="194" y="45"/>
                      <a:pt x="194" y="45"/>
                      <a:pt x="194" y="45"/>
                    </a:cubicBezTo>
                    <a:cubicBezTo>
                      <a:pt x="185" y="44"/>
                      <a:pt x="178" y="43"/>
                      <a:pt x="173" y="42"/>
                    </a:cubicBezTo>
                    <a:cubicBezTo>
                      <a:pt x="168" y="41"/>
                      <a:pt x="162" y="41"/>
                      <a:pt x="155" y="41"/>
                    </a:cubicBezTo>
                    <a:cubicBezTo>
                      <a:pt x="139" y="41"/>
                      <a:pt x="126" y="46"/>
                      <a:pt x="116" y="56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38;p4"/>
              <p:cNvSpPr/>
              <p:nvPr/>
            </p:nvSpPr>
            <p:spPr>
              <a:xfrm>
                <a:off x="11023900" y="6086290"/>
                <a:ext cx="28663" cy="56775"/>
              </a:xfrm>
              <a:custGeom>
                <a:avLst/>
                <a:gdLst/>
                <a:ahLst/>
                <a:cxnLst/>
                <a:rect l="l" t="t" r="r" b="b"/>
                <a:pathLst>
                  <a:path w="156" h="300" extrusionOk="0">
                    <a:moveTo>
                      <a:pt x="156" y="3"/>
                    </a:moveTo>
                    <a:cubicBezTo>
                      <a:pt x="156" y="49"/>
                      <a:pt x="156" y="49"/>
                      <a:pt x="156" y="49"/>
                    </a:cubicBezTo>
                    <a:cubicBezTo>
                      <a:pt x="146" y="48"/>
                      <a:pt x="136" y="47"/>
                      <a:pt x="126" y="47"/>
                    </a:cubicBezTo>
                    <a:cubicBezTo>
                      <a:pt x="105" y="47"/>
                      <a:pt x="88" y="53"/>
                      <a:pt x="75" y="66"/>
                    </a:cubicBezTo>
                    <a:cubicBezTo>
                      <a:pt x="62" y="78"/>
                      <a:pt x="52" y="96"/>
                      <a:pt x="46" y="119"/>
                    </a:cubicBezTo>
                    <a:cubicBezTo>
                      <a:pt x="46" y="300"/>
                      <a:pt x="46" y="300"/>
                      <a:pt x="46" y="300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55" y="39"/>
                      <a:pt x="67" y="25"/>
                      <a:pt x="81" y="15"/>
                    </a:cubicBezTo>
                    <a:cubicBezTo>
                      <a:pt x="95" y="5"/>
                      <a:pt x="112" y="0"/>
                      <a:pt x="130" y="0"/>
                    </a:cubicBezTo>
                    <a:cubicBezTo>
                      <a:pt x="140" y="0"/>
                      <a:pt x="149" y="1"/>
                      <a:pt x="156" y="3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39;p4"/>
              <p:cNvSpPr/>
              <p:nvPr/>
            </p:nvSpPr>
            <p:spPr>
              <a:xfrm>
                <a:off x="11065241" y="6086290"/>
                <a:ext cx="54570" cy="57878"/>
              </a:xfrm>
              <a:custGeom>
                <a:avLst/>
                <a:gdLst/>
                <a:ahLst/>
                <a:cxnLst/>
                <a:rect l="l" t="t" r="r" b="b"/>
                <a:pathLst>
                  <a:path w="292" h="308" extrusionOk="0">
                    <a:moveTo>
                      <a:pt x="68" y="289"/>
                    </a:moveTo>
                    <a:cubicBezTo>
                      <a:pt x="46" y="275"/>
                      <a:pt x="30" y="257"/>
                      <a:pt x="18" y="234"/>
                    </a:cubicBezTo>
                    <a:cubicBezTo>
                      <a:pt x="6" y="211"/>
                      <a:pt x="0" y="184"/>
                      <a:pt x="0" y="154"/>
                    </a:cubicBezTo>
                    <a:cubicBezTo>
                      <a:pt x="0" y="124"/>
                      <a:pt x="6" y="98"/>
                      <a:pt x="18" y="75"/>
                    </a:cubicBezTo>
                    <a:cubicBezTo>
                      <a:pt x="30" y="51"/>
                      <a:pt x="46" y="33"/>
                      <a:pt x="68" y="20"/>
                    </a:cubicBezTo>
                    <a:cubicBezTo>
                      <a:pt x="89" y="7"/>
                      <a:pt x="114" y="0"/>
                      <a:pt x="143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78" y="0"/>
                      <a:pt x="203" y="7"/>
                      <a:pt x="225" y="20"/>
                    </a:cubicBezTo>
                    <a:cubicBezTo>
                      <a:pt x="246" y="33"/>
                      <a:pt x="263" y="51"/>
                      <a:pt x="274" y="75"/>
                    </a:cubicBezTo>
                    <a:cubicBezTo>
                      <a:pt x="286" y="98"/>
                      <a:pt x="292" y="124"/>
                      <a:pt x="292" y="154"/>
                    </a:cubicBezTo>
                    <a:cubicBezTo>
                      <a:pt x="292" y="184"/>
                      <a:pt x="286" y="211"/>
                      <a:pt x="274" y="234"/>
                    </a:cubicBezTo>
                    <a:cubicBezTo>
                      <a:pt x="263" y="257"/>
                      <a:pt x="246" y="275"/>
                      <a:pt x="225" y="289"/>
                    </a:cubicBezTo>
                    <a:cubicBezTo>
                      <a:pt x="203" y="302"/>
                      <a:pt x="178" y="308"/>
                      <a:pt x="149" y="308"/>
                    </a:cubicBezTo>
                    <a:cubicBezTo>
                      <a:pt x="143" y="308"/>
                      <a:pt x="143" y="308"/>
                      <a:pt x="143" y="308"/>
                    </a:cubicBezTo>
                    <a:cubicBezTo>
                      <a:pt x="114" y="308"/>
                      <a:pt x="89" y="302"/>
                      <a:pt x="68" y="289"/>
                    </a:cubicBezTo>
                    <a:close/>
                    <a:moveTo>
                      <a:pt x="149" y="265"/>
                    </a:moveTo>
                    <a:cubicBezTo>
                      <a:pt x="168" y="265"/>
                      <a:pt x="185" y="261"/>
                      <a:pt x="199" y="252"/>
                    </a:cubicBezTo>
                    <a:cubicBezTo>
                      <a:pt x="214" y="242"/>
                      <a:pt x="225" y="230"/>
                      <a:pt x="233" y="213"/>
                    </a:cubicBezTo>
                    <a:cubicBezTo>
                      <a:pt x="240" y="196"/>
                      <a:pt x="244" y="176"/>
                      <a:pt x="244" y="154"/>
                    </a:cubicBezTo>
                    <a:cubicBezTo>
                      <a:pt x="244" y="132"/>
                      <a:pt x="240" y="113"/>
                      <a:pt x="233" y="96"/>
                    </a:cubicBezTo>
                    <a:cubicBezTo>
                      <a:pt x="225" y="79"/>
                      <a:pt x="214" y="66"/>
                      <a:pt x="199" y="57"/>
                    </a:cubicBezTo>
                    <a:cubicBezTo>
                      <a:pt x="185" y="48"/>
                      <a:pt x="168" y="43"/>
                      <a:pt x="149" y="43"/>
                    </a:cubicBezTo>
                    <a:cubicBezTo>
                      <a:pt x="143" y="43"/>
                      <a:pt x="143" y="43"/>
                      <a:pt x="143" y="43"/>
                    </a:cubicBezTo>
                    <a:cubicBezTo>
                      <a:pt x="124" y="43"/>
                      <a:pt x="107" y="48"/>
                      <a:pt x="93" y="57"/>
                    </a:cubicBezTo>
                    <a:cubicBezTo>
                      <a:pt x="78" y="66"/>
                      <a:pt x="67" y="79"/>
                      <a:pt x="60" y="96"/>
                    </a:cubicBezTo>
                    <a:cubicBezTo>
                      <a:pt x="52" y="113"/>
                      <a:pt x="48" y="132"/>
                      <a:pt x="48" y="154"/>
                    </a:cubicBezTo>
                    <a:cubicBezTo>
                      <a:pt x="48" y="176"/>
                      <a:pt x="52" y="196"/>
                      <a:pt x="60" y="213"/>
                    </a:cubicBezTo>
                    <a:cubicBezTo>
                      <a:pt x="67" y="230"/>
                      <a:pt x="78" y="242"/>
                      <a:pt x="93" y="252"/>
                    </a:cubicBezTo>
                    <a:cubicBezTo>
                      <a:pt x="107" y="261"/>
                      <a:pt x="124" y="265"/>
                      <a:pt x="143" y="265"/>
                    </a:cubicBezTo>
                    <a:lnTo>
                      <a:pt x="149" y="265"/>
                    </a:ln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40;p4"/>
              <p:cNvSpPr/>
              <p:nvPr/>
            </p:nvSpPr>
            <p:spPr>
              <a:xfrm>
                <a:off x="11138002" y="6086290"/>
                <a:ext cx="84887" cy="56775"/>
              </a:xfrm>
              <a:custGeom>
                <a:avLst/>
                <a:gdLst/>
                <a:ahLst/>
                <a:cxnLst/>
                <a:rect l="l" t="t" r="r" b="b"/>
                <a:pathLst>
                  <a:path w="457" h="301" extrusionOk="0">
                    <a:moveTo>
                      <a:pt x="431" y="34"/>
                    </a:moveTo>
                    <a:cubicBezTo>
                      <a:pt x="448" y="56"/>
                      <a:pt x="457" y="88"/>
                      <a:pt x="457" y="131"/>
                    </a:cubicBezTo>
                    <a:cubicBezTo>
                      <a:pt x="457" y="301"/>
                      <a:pt x="457" y="301"/>
                      <a:pt x="457" y="301"/>
                    </a:cubicBezTo>
                    <a:cubicBezTo>
                      <a:pt x="411" y="301"/>
                      <a:pt x="411" y="301"/>
                      <a:pt x="411" y="301"/>
                    </a:cubicBezTo>
                    <a:cubicBezTo>
                      <a:pt x="411" y="136"/>
                      <a:pt x="411" y="136"/>
                      <a:pt x="411" y="136"/>
                    </a:cubicBezTo>
                    <a:cubicBezTo>
                      <a:pt x="411" y="105"/>
                      <a:pt x="406" y="82"/>
                      <a:pt x="395" y="66"/>
                    </a:cubicBezTo>
                    <a:cubicBezTo>
                      <a:pt x="384" y="51"/>
                      <a:pt x="367" y="43"/>
                      <a:pt x="345" y="43"/>
                    </a:cubicBezTo>
                    <a:cubicBezTo>
                      <a:pt x="340" y="43"/>
                      <a:pt x="340" y="43"/>
                      <a:pt x="340" y="43"/>
                    </a:cubicBezTo>
                    <a:cubicBezTo>
                      <a:pt x="318" y="43"/>
                      <a:pt x="300" y="50"/>
                      <a:pt x="285" y="64"/>
                    </a:cubicBezTo>
                    <a:cubicBezTo>
                      <a:pt x="270" y="77"/>
                      <a:pt x="258" y="95"/>
                      <a:pt x="251" y="118"/>
                    </a:cubicBezTo>
                    <a:cubicBezTo>
                      <a:pt x="251" y="121"/>
                      <a:pt x="252" y="125"/>
                      <a:pt x="252" y="131"/>
                    </a:cubicBezTo>
                    <a:cubicBezTo>
                      <a:pt x="252" y="301"/>
                      <a:pt x="252" y="301"/>
                      <a:pt x="252" y="301"/>
                    </a:cubicBezTo>
                    <a:cubicBezTo>
                      <a:pt x="206" y="301"/>
                      <a:pt x="206" y="301"/>
                      <a:pt x="206" y="301"/>
                    </a:cubicBezTo>
                    <a:cubicBezTo>
                      <a:pt x="206" y="136"/>
                      <a:pt x="206" y="136"/>
                      <a:pt x="206" y="136"/>
                    </a:cubicBezTo>
                    <a:cubicBezTo>
                      <a:pt x="206" y="105"/>
                      <a:pt x="200" y="82"/>
                      <a:pt x="190" y="66"/>
                    </a:cubicBezTo>
                    <a:cubicBezTo>
                      <a:pt x="179" y="51"/>
                      <a:pt x="162" y="43"/>
                      <a:pt x="139" y="43"/>
                    </a:cubicBezTo>
                    <a:cubicBezTo>
                      <a:pt x="134" y="43"/>
                      <a:pt x="134" y="43"/>
                      <a:pt x="134" y="43"/>
                    </a:cubicBezTo>
                    <a:cubicBezTo>
                      <a:pt x="113" y="43"/>
                      <a:pt x="95" y="50"/>
                      <a:pt x="80" y="64"/>
                    </a:cubicBezTo>
                    <a:cubicBezTo>
                      <a:pt x="64" y="77"/>
                      <a:pt x="53" y="95"/>
                      <a:pt x="46" y="118"/>
                    </a:cubicBezTo>
                    <a:cubicBezTo>
                      <a:pt x="46" y="301"/>
                      <a:pt x="46" y="301"/>
                      <a:pt x="46" y="301"/>
                    </a:cubicBezTo>
                    <a:cubicBezTo>
                      <a:pt x="0" y="301"/>
                      <a:pt x="0" y="301"/>
                      <a:pt x="0" y="30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46" y="8"/>
                      <a:pt x="46" y="8"/>
                      <a:pt x="46" y="8"/>
                    </a:cubicBezTo>
                    <a:cubicBezTo>
                      <a:pt x="46" y="63"/>
                      <a:pt x="46" y="63"/>
                      <a:pt x="46" y="63"/>
                    </a:cubicBezTo>
                    <a:cubicBezTo>
                      <a:pt x="57" y="44"/>
                      <a:pt x="71" y="28"/>
                      <a:pt x="87" y="17"/>
                    </a:cubicBezTo>
                    <a:cubicBezTo>
                      <a:pt x="104" y="6"/>
                      <a:pt x="123" y="0"/>
                      <a:pt x="145" y="0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75" y="0"/>
                      <a:pt x="195" y="7"/>
                      <a:pt x="211" y="19"/>
                    </a:cubicBezTo>
                    <a:cubicBezTo>
                      <a:pt x="226" y="31"/>
                      <a:pt x="237" y="48"/>
                      <a:pt x="244" y="72"/>
                    </a:cubicBezTo>
                    <a:cubicBezTo>
                      <a:pt x="255" y="49"/>
                      <a:pt x="270" y="32"/>
                      <a:pt x="288" y="19"/>
                    </a:cubicBezTo>
                    <a:cubicBezTo>
                      <a:pt x="306" y="7"/>
                      <a:pt x="327" y="0"/>
                      <a:pt x="350" y="0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389" y="0"/>
                      <a:pt x="414" y="12"/>
                      <a:pt x="431" y="34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41" name="Google Shape;41;p4"/>
          <p:cNvSpPr/>
          <p:nvPr/>
        </p:nvSpPr>
        <p:spPr>
          <a:xfrm>
            <a:off x="727142" y="581271"/>
            <a:ext cx="1710383" cy="413964"/>
          </a:xfrm>
          <a:custGeom>
            <a:avLst/>
            <a:gdLst/>
            <a:ahLst/>
            <a:cxnLst/>
            <a:rect l="l" t="t" r="r" b="b"/>
            <a:pathLst>
              <a:path w="9164" h="2200" extrusionOk="0">
                <a:moveTo>
                  <a:pt x="8512" y="1083"/>
                </a:moveTo>
                <a:cubicBezTo>
                  <a:pt x="8512" y="1060"/>
                  <a:pt x="8517" y="1038"/>
                  <a:pt x="8527" y="1016"/>
                </a:cubicBezTo>
                <a:cubicBezTo>
                  <a:pt x="8537" y="994"/>
                  <a:pt x="8551" y="973"/>
                  <a:pt x="8570" y="956"/>
                </a:cubicBezTo>
                <a:cubicBezTo>
                  <a:pt x="8589" y="938"/>
                  <a:pt x="8612" y="923"/>
                  <a:pt x="8640" y="911"/>
                </a:cubicBezTo>
                <a:cubicBezTo>
                  <a:pt x="8668" y="899"/>
                  <a:pt x="8700" y="893"/>
                  <a:pt x="8736" y="893"/>
                </a:cubicBezTo>
                <a:cubicBezTo>
                  <a:pt x="8769" y="893"/>
                  <a:pt x="8799" y="899"/>
                  <a:pt x="8825" y="911"/>
                </a:cubicBezTo>
                <a:cubicBezTo>
                  <a:pt x="8851" y="923"/>
                  <a:pt x="8872" y="938"/>
                  <a:pt x="8889" y="956"/>
                </a:cubicBezTo>
                <a:cubicBezTo>
                  <a:pt x="8906" y="974"/>
                  <a:pt x="8918" y="994"/>
                  <a:pt x="8927" y="1016"/>
                </a:cubicBezTo>
                <a:cubicBezTo>
                  <a:pt x="8936" y="1038"/>
                  <a:pt x="8940" y="1060"/>
                  <a:pt x="8940" y="1083"/>
                </a:cubicBezTo>
                <a:cubicBezTo>
                  <a:pt x="8512" y="1083"/>
                  <a:pt x="8512" y="1083"/>
                  <a:pt x="8512" y="1083"/>
                </a:cubicBezTo>
                <a:close/>
                <a:moveTo>
                  <a:pt x="9035" y="1351"/>
                </a:moveTo>
                <a:cubicBezTo>
                  <a:pt x="9027" y="1358"/>
                  <a:pt x="9017" y="1368"/>
                  <a:pt x="9002" y="1379"/>
                </a:cubicBezTo>
                <a:cubicBezTo>
                  <a:pt x="8988" y="1391"/>
                  <a:pt x="8970" y="1402"/>
                  <a:pt x="8948" y="1413"/>
                </a:cubicBezTo>
                <a:cubicBezTo>
                  <a:pt x="8925" y="1423"/>
                  <a:pt x="8898" y="1433"/>
                  <a:pt x="8867" y="1441"/>
                </a:cubicBezTo>
                <a:cubicBezTo>
                  <a:pt x="8835" y="1449"/>
                  <a:pt x="8798" y="1453"/>
                  <a:pt x="8756" y="1453"/>
                </a:cubicBezTo>
                <a:cubicBezTo>
                  <a:pt x="8727" y="1453"/>
                  <a:pt x="8699" y="1448"/>
                  <a:pt x="8670" y="1438"/>
                </a:cubicBezTo>
                <a:cubicBezTo>
                  <a:pt x="8640" y="1428"/>
                  <a:pt x="8614" y="1414"/>
                  <a:pt x="8591" y="1395"/>
                </a:cubicBezTo>
                <a:cubicBezTo>
                  <a:pt x="8569" y="1377"/>
                  <a:pt x="8550" y="1354"/>
                  <a:pt x="8536" y="1328"/>
                </a:cubicBezTo>
                <a:cubicBezTo>
                  <a:pt x="8521" y="1302"/>
                  <a:pt x="8514" y="1275"/>
                  <a:pt x="8514" y="1241"/>
                </a:cubicBezTo>
                <a:cubicBezTo>
                  <a:pt x="9164" y="1241"/>
                  <a:pt x="9164" y="1241"/>
                  <a:pt x="9164" y="1241"/>
                </a:cubicBezTo>
                <a:cubicBezTo>
                  <a:pt x="9164" y="1209"/>
                  <a:pt x="9164" y="1209"/>
                  <a:pt x="9164" y="1209"/>
                </a:cubicBezTo>
                <a:cubicBezTo>
                  <a:pt x="9164" y="1147"/>
                  <a:pt x="9157" y="1087"/>
                  <a:pt x="9142" y="1027"/>
                </a:cubicBezTo>
                <a:cubicBezTo>
                  <a:pt x="9128" y="968"/>
                  <a:pt x="9104" y="914"/>
                  <a:pt x="9070" y="867"/>
                </a:cubicBezTo>
                <a:cubicBezTo>
                  <a:pt x="9037" y="820"/>
                  <a:pt x="8992" y="782"/>
                  <a:pt x="8937" y="753"/>
                </a:cubicBezTo>
                <a:cubicBezTo>
                  <a:pt x="8882" y="724"/>
                  <a:pt x="8815" y="709"/>
                  <a:pt x="8736" y="709"/>
                </a:cubicBezTo>
                <a:cubicBezTo>
                  <a:pt x="8670" y="709"/>
                  <a:pt x="8610" y="721"/>
                  <a:pt x="8556" y="745"/>
                </a:cubicBezTo>
                <a:cubicBezTo>
                  <a:pt x="8502" y="768"/>
                  <a:pt x="8456" y="800"/>
                  <a:pt x="8417" y="841"/>
                </a:cubicBezTo>
                <a:cubicBezTo>
                  <a:pt x="8378" y="882"/>
                  <a:pt x="8347" y="930"/>
                  <a:pt x="8326" y="985"/>
                </a:cubicBezTo>
                <a:cubicBezTo>
                  <a:pt x="8304" y="1040"/>
                  <a:pt x="8293" y="1100"/>
                  <a:pt x="8293" y="1165"/>
                </a:cubicBezTo>
                <a:cubicBezTo>
                  <a:pt x="8293" y="1235"/>
                  <a:pt x="8304" y="1300"/>
                  <a:pt x="8326" y="1358"/>
                </a:cubicBezTo>
                <a:cubicBezTo>
                  <a:pt x="8347" y="1416"/>
                  <a:pt x="8378" y="1466"/>
                  <a:pt x="8419" y="1508"/>
                </a:cubicBezTo>
                <a:cubicBezTo>
                  <a:pt x="8459" y="1549"/>
                  <a:pt x="8507" y="1582"/>
                  <a:pt x="8565" y="1605"/>
                </a:cubicBezTo>
                <a:cubicBezTo>
                  <a:pt x="8622" y="1629"/>
                  <a:pt x="8685" y="1641"/>
                  <a:pt x="8754" y="1641"/>
                </a:cubicBezTo>
                <a:cubicBezTo>
                  <a:pt x="8822" y="1641"/>
                  <a:pt x="8881" y="1633"/>
                  <a:pt x="8930" y="1618"/>
                </a:cubicBezTo>
                <a:cubicBezTo>
                  <a:pt x="8979" y="1603"/>
                  <a:pt x="9019" y="1587"/>
                  <a:pt x="9051" y="1568"/>
                </a:cubicBezTo>
                <a:cubicBezTo>
                  <a:pt x="9082" y="1550"/>
                  <a:pt x="9106" y="1532"/>
                  <a:pt x="9123" y="1515"/>
                </a:cubicBezTo>
                <a:cubicBezTo>
                  <a:pt x="9140" y="1498"/>
                  <a:pt x="9150" y="1488"/>
                  <a:pt x="9154" y="1484"/>
                </a:cubicBezTo>
                <a:cubicBezTo>
                  <a:pt x="9035" y="1351"/>
                  <a:pt x="9035" y="1351"/>
                  <a:pt x="9035" y="1351"/>
                </a:cubicBezTo>
                <a:close/>
                <a:moveTo>
                  <a:pt x="8065" y="1354"/>
                </a:moveTo>
                <a:cubicBezTo>
                  <a:pt x="8040" y="1383"/>
                  <a:pt x="8009" y="1405"/>
                  <a:pt x="7973" y="1422"/>
                </a:cubicBezTo>
                <a:cubicBezTo>
                  <a:pt x="7937" y="1439"/>
                  <a:pt x="7898" y="1447"/>
                  <a:pt x="7854" y="1447"/>
                </a:cubicBezTo>
                <a:cubicBezTo>
                  <a:pt x="7812" y="1447"/>
                  <a:pt x="7776" y="1439"/>
                  <a:pt x="7745" y="1423"/>
                </a:cubicBezTo>
                <a:cubicBezTo>
                  <a:pt x="7714" y="1407"/>
                  <a:pt x="7688" y="1386"/>
                  <a:pt x="7668" y="1360"/>
                </a:cubicBezTo>
                <a:cubicBezTo>
                  <a:pt x="7647" y="1334"/>
                  <a:pt x="7632" y="1305"/>
                  <a:pt x="7622" y="1273"/>
                </a:cubicBezTo>
                <a:cubicBezTo>
                  <a:pt x="7612" y="1240"/>
                  <a:pt x="7607" y="1207"/>
                  <a:pt x="7607" y="1174"/>
                </a:cubicBezTo>
                <a:cubicBezTo>
                  <a:pt x="7607" y="1139"/>
                  <a:pt x="7612" y="1105"/>
                  <a:pt x="7622" y="1072"/>
                </a:cubicBezTo>
                <a:cubicBezTo>
                  <a:pt x="7632" y="1038"/>
                  <a:pt x="7647" y="1009"/>
                  <a:pt x="7668" y="984"/>
                </a:cubicBezTo>
                <a:cubicBezTo>
                  <a:pt x="7688" y="960"/>
                  <a:pt x="7714" y="939"/>
                  <a:pt x="7745" y="924"/>
                </a:cubicBezTo>
                <a:cubicBezTo>
                  <a:pt x="7776" y="908"/>
                  <a:pt x="7812" y="901"/>
                  <a:pt x="7854" y="901"/>
                </a:cubicBezTo>
                <a:cubicBezTo>
                  <a:pt x="7898" y="901"/>
                  <a:pt x="7936" y="909"/>
                  <a:pt x="7970" y="925"/>
                </a:cubicBezTo>
                <a:cubicBezTo>
                  <a:pt x="8003" y="941"/>
                  <a:pt x="8032" y="963"/>
                  <a:pt x="8057" y="992"/>
                </a:cubicBezTo>
                <a:cubicBezTo>
                  <a:pt x="8197" y="850"/>
                  <a:pt x="8197" y="850"/>
                  <a:pt x="8197" y="850"/>
                </a:cubicBezTo>
                <a:cubicBezTo>
                  <a:pt x="8156" y="807"/>
                  <a:pt x="8106" y="773"/>
                  <a:pt x="8048" y="747"/>
                </a:cubicBezTo>
                <a:cubicBezTo>
                  <a:pt x="7990" y="722"/>
                  <a:pt x="7925" y="709"/>
                  <a:pt x="7854" y="709"/>
                </a:cubicBezTo>
                <a:cubicBezTo>
                  <a:pt x="7785" y="709"/>
                  <a:pt x="7722" y="722"/>
                  <a:pt x="7664" y="746"/>
                </a:cubicBezTo>
                <a:cubicBezTo>
                  <a:pt x="7606" y="771"/>
                  <a:pt x="7557" y="805"/>
                  <a:pt x="7516" y="847"/>
                </a:cubicBezTo>
                <a:cubicBezTo>
                  <a:pt x="7475" y="889"/>
                  <a:pt x="7443" y="938"/>
                  <a:pt x="7420" y="995"/>
                </a:cubicBezTo>
                <a:cubicBezTo>
                  <a:pt x="7397" y="1051"/>
                  <a:pt x="7386" y="1111"/>
                  <a:pt x="7386" y="1174"/>
                </a:cubicBezTo>
                <a:cubicBezTo>
                  <a:pt x="7386" y="1243"/>
                  <a:pt x="7396" y="1307"/>
                  <a:pt x="7418" y="1364"/>
                </a:cubicBezTo>
                <a:cubicBezTo>
                  <a:pt x="7439" y="1421"/>
                  <a:pt x="7469" y="1470"/>
                  <a:pt x="7509" y="1511"/>
                </a:cubicBezTo>
                <a:cubicBezTo>
                  <a:pt x="7548" y="1551"/>
                  <a:pt x="7597" y="1583"/>
                  <a:pt x="7656" y="1605"/>
                </a:cubicBezTo>
                <a:cubicBezTo>
                  <a:pt x="7714" y="1628"/>
                  <a:pt x="7780" y="1639"/>
                  <a:pt x="7854" y="1639"/>
                </a:cubicBezTo>
                <a:cubicBezTo>
                  <a:pt x="7929" y="1639"/>
                  <a:pt x="7994" y="1626"/>
                  <a:pt x="8050" y="1600"/>
                </a:cubicBezTo>
                <a:cubicBezTo>
                  <a:pt x="8105" y="1574"/>
                  <a:pt x="8154" y="1539"/>
                  <a:pt x="8195" y="1496"/>
                </a:cubicBezTo>
                <a:cubicBezTo>
                  <a:pt x="8065" y="1354"/>
                  <a:pt x="8065" y="1354"/>
                  <a:pt x="8065" y="1354"/>
                </a:cubicBezTo>
                <a:close/>
                <a:moveTo>
                  <a:pt x="7005" y="1302"/>
                </a:moveTo>
                <a:cubicBezTo>
                  <a:pt x="7005" y="1325"/>
                  <a:pt x="6999" y="1346"/>
                  <a:pt x="6987" y="1366"/>
                </a:cubicBezTo>
                <a:cubicBezTo>
                  <a:pt x="6976" y="1385"/>
                  <a:pt x="6960" y="1403"/>
                  <a:pt x="6942" y="1418"/>
                </a:cubicBezTo>
                <a:cubicBezTo>
                  <a:pt x="6923" y="1432"/>
                  <a:pt x="6902" y="1444"/>
                  <a:pt x="6877" y="1453"/>
                </a:cubicBezTo>
                <a:cubicBezTo>
                  <a:pt x="6853" y="1462"/>
                  <a:pt x="6828" y="1466"/>
                  <a:pt x="6802" y="1466"/>
                </a:cubicBezTo>
                <a:cubicBezTo>
                  <a:pt x="6750" y="1466"/>
                  <a:pt x="6711" y="1455"/>
                  <a:pt x="6684" y="1434"/>
                </a:cubicBezTo>
                <a:cubicBezTo>
                  <a:pt x="6657" y="1413"/>
                  <a:pt x="6644" y="1384"/>
                  <a:pt x="6644" y="1347"/>
                </a:cubicBezTo>
                <a:cubicBezTo>
                  <a:pt x="6644" y="1311"/>
                  <a:pt x="6658" y="1279"/>
                  <a:pt x="6687" y="1251"/>
                </a:cubicBezTo>
                <a:cubicBezTo>
                  <a:pt x="6715" y="1223"/>
                  <a:pt x="6765" y="1209"/>
                  <a:pt x="6836" y="1209"/>
                </a:cubicBezTo>
                <a:cubicBezTo>
                  <a:pt x="6849" y="1209"/>
                  <a:pt x="6866" y="1210"/>
                  <a:pt x="6885" y="1210"/>
                </a:cubicBezTo>
                <a:cubicBezTo>
                  <a:pt x="6904" y="1211"/>
                  <a:pt x="6923" y="1212"/>
                  <a:pt x="6940" y="1213"/>
                </a:cubicBezTo>
                <a:cubicBezTo>
                  <a:pt x="6961" y="1214"/>
                  <a:pt x="6983" y="1216"/>
                  <a:pt x="7005" y="1217"/>
                </a:cubicBezTo>
                <a:cubicBezTo>
                  <a:pt x="7005" y="1302"/>
                  <a:pt x="7005" y="1302"/>
                  <a:pt x="7005" y="1302"/>
                </a:cubicBezTo>
                <a:close/>
                <a:moveTo>
                  <a:pt x="7010" y="1610"/>
                </a:moveTo>
                <a:cubicBezTo>
                  <a:pt x="7214" y="1610"/>
                  <a:pt x="7214" y="1610"/>
                  <a:pt x="7214" y="1610"/>
                </a:cubicBezTo>
                <a:cubicBezTo>
                  <a:pt x="7214" y="1025"/>
                  <a:pt x="7214" y="1025"/>
                  <a:pt x="7214" y="1025"/>
                </a:cubicBezTo>
                <a:cubicBezTo>
                  <a:pt x="7214" y="979"/>
                  <a:pt x="7206" y="937"/>
                  <a:pt x="7188" y="898"/>
                </a:cubicBezTo>
                <a:cubicBezTo>
                  <a:pt x="7171" y="859"/>
                  <a:pt x="7146" y="825"/>
                  <a:pt x="7114" y="797"/>
                </a:cubicBezTo>
                <a:cubicBezTo>
                  <a:pt x="7082" y="770"/>
                  <a:pt x="7043" y="748"/>
                  <a:pt x="6998" y="732"/>
                </a:cubicBezTo>
                <a:cubicBezTo>
                  <a:pt x="6953" y="717"/>
                  <a:pt x="6902" y="709"/>
                  <a:pt x="6847" y="709"/>
                </a:cubicBezTo>
                <a:cubicBezTo>
                  <a:pt x="6795" y="709"/>
                  <a:pt x="6749" y="713"/>
                  <a:pt x="6710" y="719"/>
                </a:cubicBezTo>
                <a:cubicBezTo>
                  <a:pt x="6671" y="726"/>
                  <a:pt x="6637" y="735"/>
                  <a:pt x="6607" y="745"/>
                </a:cubicBezTo>
                <a:cubicBezTo>
                  <a:pt x="6577" y="756"/>
                  <a:pt x="6551" y="768"/>
                  <a:pt x="6529" y="781"/>
                </a:cubicBezTo>
                <a:cubicBezTo>
                  <a:pt x="6507" y="794"/>
                  <a:pt x="6487" y="807"/>
                  <a:pt x="6469" y="819"/>
                </a:cubicBezTo>
                <a:cubicBezTo>
                  <a:pt x="6570" y="968"/>
                  <a:pt x="6570" y="968"/>
                  <a:pt x="6570" y="968"/>
                </a:cubicBezTo>
                <a:cubicBezTo>
                  <a:pt x="6598" y="949"/>
                  <a:pt x="6631" y="932"/>
                  <a:pt x="6668" y="916"/>
                </a:cubicBezTo>
                <a:cubicBezTo>
                  <a:pt x="6705" y="899"/>
                  <a:pt x="6755" y="891"/>
                  <a:pt x="6817" y="891"/>
                </a:cubicBezTo>
                <a:cubicBezTo>
                  <a:pt x="6873" y="891"/>
                  <a:pt x="6918" y="904"/>
                  <a:pt x="6953" y="929"/>
                </a:cubicBezTo>
                <a:cubicBezTo>
                  <a:pt x="6988" y="953"/>
                  <a:pt x="7005" y="987"/>
                  <a:pt x="7005" y="1031"/>
                </a:cubicBezTo>
                <a:cubicBezTo>
                  <a:pt x="7005" y="1051"/>
                  <a:pt x="7005" y="1051"/>
                  <a:pt x="7005" y="1051"/>
                </a:cubicBezTo>
                <a:cubicBezTo>
                  <a:pt x="6983" y="1050"/>
                  <a:pt x="6958" y="1049"/>
                  <a:pt x="6936" y="1048"/>
                </a:cubicBezTo>
                <a:cubicBezTo>
                  <a:pt x="6916" y="1046"/>
                  <a:pt x="6896" y="1045"/>
                  <a:pt x="6875" y="1045"/>
                </a:cubicBezTo>
                <a:cubicBezTo>
                  <a:pt x="6854" y="1044"/>
                  <a:pt x="6834" y="1044"/>
                  <a:pt x="6817" y="1044"/>
                </a:cubicBezTo>
                <a:cubicBezTo>
                  <a:pt x="6760" y="1044"/>
                  <a:pt x="6708" y="1051"/>
                  <a:pt x="6661" y="1064"/>
                </a:cubicBezTo>
                <a:cubicBezTo>
                  <a:pt x="6614" y="1078"/>
                  <a:pt x="6573" y="1098"/>
                  <a:pt x="6540" y="1125"/>
                </a:cubicBezTo>
                <a:cubicBezTo>
                  <a:pt x="6507" y="1151"/>
                  <a:pt x="6480" y="1184"/>
                  <a:pt x="6462" y="1223"/>
                </a:cubicBezTo>
                <a:cubicBezTo>
                  <a:pt x="6443" y="1262"/>
                  <a:pt x="6434" y="1307"/>
                  <a:pt x="6434" y="1356"/>
                </a:cubicBezTo>
                <a:cubicBezTo>
                  <a:pt x="6434" y="1405"/>
                  <a:pt x="6443" y="1447"/>
                  <a:pt x="6461" y="1483"/>
                </a:cubicBezTo>
                <a:cubicBezTo>
                  <a:pt x="6479" y="1519"/>
                  <a:pt x="6502" y="1548"/>
                  <a:pt x="6532" y="1571"/>
                </a:cubicBezTo>
                <a:cubicBezTo>
                  <a:pt x="6561" y="1594"/>
                  <a:pt x="6593" y="1611"/>
                  <a:pt x="6628" y="1622"/>
                </a:cubicBezTo>
                <a:cubicBezTo>
                  <a:pt x="6664" y="1633"/>
                  <a:pt x="6699" y="1639"/>
                  <a:pt x="6735" y="1639"/>
                </a:cubicBezTo>
                <a:cubicBezTo>
                  <a:pt x="6795" y="1639"/>
                  <a:pt x="6849" y="1628"/>
                  <a:pt x="6897" y="1605"/>
                </a:cubicBezTo>
                <a:cubicBezTo>
                  <a:pt x="6945" y="1583"/>
                  <a:pt x="6981" y="1557"/>
                  <a:pt x="7005" y="1529"/>
                </a:cubicBezTo>
                <a:cubicBezTo>
                  <a:pt x="7010" y="1610"/>
                  <a:pt x="7010" y="1610"/>
                  <a:pt x="7010" y="1610"/>
                </a:cubicBezTo>
                <a:close/>
                <a:moveTo>
                  <a:pt x="6024" y="1610"/>
                </a:moveTo>
                <a:cubicBezTo>
                  <a:pt x="6244" y="1610"/>
                  <a:pt x="6244" y="1610"/>
                  <a:pt x="6244" y="1610"/>
                </a:cubicBezTo>
                <a:cubicBezTo>
                  <a:pt x="6244" y="370"/>
                  <a:pt x="6244" y="370"/>
                  <a:pt x="6244" y="370"/>
                </a:cubicBezTo>
                <a:cubicBezTo>
                  <a:pt x="6024" y="370"/>
                  <a:pt x="6024" y="370"/>
                  <a:pt x="6024" y="370"/>
                </a:cubicBezTo>
                <a:cubicBezTo>
                  <a:pt x="6024" y="1610"/>
                  <a:pt x="6024" y="1610"/>
                  <a:pt x="6024" y="1610"/>
                </a:cubicBezTo>
                <a:close/>
                <a:moveTo>
                  <a:pt x="5181" y="1139"/>
                </a:moveTo>
                <a:cubicBezTo>
                  <a:pt x="5181" y="1114"/>
                  <a:pt x="5186" y="1088"/>
                  <a:pt x="5197" y="1062"/>
                </a:cubicBezTo>
                <a:cubicBezTo>
                  <a:pt x="5207" y="1035"/>
                  <a:pt x="5222" y="1010"/>
                  <a:pt x="5241" y="988"/>
                </a:cubicBezTo>
                <a:cubicBezTo>
                  <a:pt x="5261" y="966"/>
                  <a:pt x="5284" y="947"/>
                  <a:pt x="5311" y="933"/>
                </a:cubicBezTo>
                <a:cubicBezTo>
                  <a:pt x="5338" y="919"/>
                  <a:pt x="5369" y="912"/>
                  <a:pt x="5402" y="912"/>
                </a:cubicBezTo>
                <a:cubicBezTo>
                  <a:pt x="5444" y="912"/>
                  <a:pt x="5480" y="919"/>
                  <a:pt x="5508" y="933"/>
                </a:cubicBezTo>
                <a:cubicBezTo>
                  <a:pt x="5537" y="947"/>
                  <a:pt x="5560" y="967"/>
                  <a:pt x="5578" y="991"/>
                </a:cubicBezTo>
                <a:cubicBezTo>
                  <a:pt x="5596" y="1015"/>
                  <a:pt x="5609" y="1043"/>
                  <a:pt x="5617" y="1075"/>
                </a:cubicBezTo>
                <a:cubicBezTo>
                  <a:pt x="5625" y="1108"/>
                  <a:pt x="5629" y="1142"/>
                  <a:pt x="5629" y="1180"/>
                </a:cubicBezTo>
                <a:cubicBezTo>
                  <a:pt x="5629" y="1214"/>
                  <a:pt x="5623" y="1248"/>
                  <a:pt x="5612" y="1280"/>
                </a:cubicBezTo>
                <a:cubicBezTo>
                  <a:pt x="5601" y="1312"/>
                  <a:pt x="5585" y="1341"/>
                  <a:pt x="5563" y="1366"/>
                </a:cubicBezTo>
                <a:cubicBezTo>
                  <a:pt x="5541" y="1392"/>
                  <a:pt x="5515" y="1412"/>
                  <a:pt x="5484" y="1428"/>
                </a:cubicBezTo>
                <a:cubicBezTo>
                  <a:pt x="5453" y="1443"/>
                  <a:pt x="5418" y="1451"/>
                  <a:pt x="5378" y="1451"/>
                </a:cubicBezTo>
                <a:cubicBezTo>
                  <a:pt x="5290" y="1451"/>
                  <a:pt x="5224" y="1433"/>
                  <a:pt x="5181" y="1397"/>
                </a:cubicBezTo>
                <a:cubicBezTo>
                  <a:pt x="5181" y="1139"/>
                  <a:pt x="5181" y="1139"/>
                  <a:pt x="5181" y="1139"/>
                </a:cubicBezTo>
                <a:close/>
                <a:moveTo>
                  <a:pt x="4964" y="1982"/>
                </a:moveTo>
                <a:cubicBezTo>
                  <a:pt x="5181" y="1982"/>
                  <a:pt x="5181" y="1982"/>
                  <a:pt x="5181" y="1982"/>
                </a:cubicBezTo>
                <a:cubicBezTo>
                  <a:pt x="5181" y="1594"/>
                  <a:pt x="5181" y="1594"/>
                  <a:pt x="5181" y="1594"/>
                </a:cubicBezTo>
                <a:cubicBezTo>
                  <a:pt x="5198" y="1600"/>
                  <a:pt x="5212" y="1606"/>
                  <a:pt x="5227" y="1612"/>
                </a:cubicBezTo>
                <a:cubicBezTo>
                  <a:pt x="5241" y="1617"/>
                  <a:pt x="5256" y="1622"/>
                  <a:pt x="5273" y="1627"/>
                </a:cubicBezTo>
                <a:cubicBezTo>
                  <a:pt x="5290" y="1631"/>
                  <a:pt x="5308" y="1634"/>
                  <a:pt x="5329" y="1637"/>
                </a:cubicBezTo>
                <a:cubicBezTo>
                  <a:pt x="5349" y="1639"/>
                  <a:pt x="5374" y="1641"/>
                  <a:pt x="5402" y="1641"/>
                </a:cubicBezTo>
                <a:cubicBezTo>
                  <a:pt x="5464" y="1641"/>
                  <a:pt x="5525" y="1629"/>
                  <a:pt x="5583" y="1605"/>
                </a:cubicBezTo>
                <a:cubicBezTo>
                  <a:pt x="5642" y="1582"/>
                  <a:pt x="5697" y="1540"/>
                  <a:pt x="5746" y="1481"/>
                </a:cubicBezTo>
                <a:cubicBezTo>
                  <a:pt x="5776" y="1445"/>
                  <a:pt x="5801" y="1403"/>
                  <a:pt x="5820" y="1354"/>
                </a:cubicBezTo>
                <a:cubicBezTo>
                  <a:pt x="5840" y="1306"/>
                  <a:pt x="5850" y="1248"/>
                  <a:pt x="5850" y="1180"/>
                </a:cubicBezTo>
                <a:cubicBezTo>
                  <a:pt x="5850" y="1121"/>
                  <a:pt x="5842" y="1065"/>
                  <a:pt x="5826" y="1010"/>
                </a:cubicBezTo>
                <a:cubicBezTo>
                  <a:pt x="5810" y="956"/>
                  <a:pt x="5786" y="907"/>
                  <a:pt x="5754" y="864"/>
                </a:cubicBezTo>
                <a:cubicBezTo>
                  <a:pt x="5721" y="822"/>
                  <a:pt x="5681" y="787"/>
                  <a:pt x="5632" y="761"/>
                </a:cubicBezTo>
                <a:cubicBezTo>
                  <a:pt x="5583" y="735"/>
                  <a:pt x="5525" y="722"/>
                  <a:pt x="5458" y="722"/>
                </a:cubicBezTo>
                <a:cubicBezTo>
                  <a:pt x="5422" y="722"/>
                  <a:pt x="5389" y="726"/>
                  <a:pt x="5360" y="733"/>
                </a:cubicBezTo>
                <a:cubicBezTo>
                  <a:pt x="5331" y="741"/>
                  <a:pt x="5305" y="750"/>
                  <a:pt x="5282" y="761"/>
                </a:cubicBezTo>
                <a:cubicBezTo>
                  <a:pt x="5259" y="772"/>
                  <a:pt x="5239" y="785"/>
                  <a:pt x="5223" y="798"/>
                </a:cubicBezTo>
                <a:cubicBezTo>
                  <a:pt x="5206" y="812"/>
                  <a:pt x="5192" y="825"/>
                  <a:pt x="5181" y="837"/>
                </a:cubicBezTo>
                <a:cubicBezTo>
                  <a:pt x="5175" y="739"/>
                  <a:pt x="5175" y="739"/>
                  <a:pt x="5175" y="739"/>
                </a:cubicBezTo>
                <a:cubicBezTo>
                  <a:pt x="4964" y="739"/>
                  <a:pt x="4964" y="739"/>
                  <a:pt x="4964" y="739"/>
                </a:cubicBezTo>
                <a:cubicBezTo>
                  <a:pt x="4964" y="1982"/>
                  <a:pt x="4964" y="1982"/>
                  <a:pt x="4964" y="1982"/>
                </a:cubicBezTo>
                <a:close/>
                <a:moveTo>
                  <a:pt x="4011" y="1610"/>
                </a:moveTo>
                <a:cubicBezTo>
                  <a:pt x="4231" y="1610"/>
                  <a:pt x="4231" y="1610"/>
                  <a:pt x="4231" y="1610"/>
                </a:cubicBezTo>
                <a:cubicBezTo>
                  <a:pt x="4231" y="1302"/>
                  <a:pt x="4231" y="1302"/>
                  <a:pt x="4231" y="1302"/>
                </a:cubicBezTo>
                <a:cubicBezTo>
                  <a:pt x="4326" y="1209"/>
                  <a:pt x="4326" y="1209"/>
                  <a:pt x="4326" y="1209"/>
                </a:cubicBezTo>
                <a:cubicBezTo>
                  <a:pt x="4578" y="1610"/>
                  <a:pt x="4578" y="1610"/>
                  <a:pt x="4578" y="1610"/>
                </a:cubicBezTo>
                <a:cubicBezTo>
                  <a:pt x="4841" y="1610"/>
                  <a:pt x="4841" y="1610"/>
                  <a:pt x="4841" y="1610"/>
                </a:cubicBezTo>
                <a:cubicBezTo>
                  <a:pt x="4476" y="1060"/>
                  <a:pt x="4476" y="1060"/>
                  <a:pt x="4476" y="1060"/>
                </a:cubicBezTo>
                <a:cubicBezTo>
                  <a:pt x="4803" y="739"/>
                  <a:pt x="4803" y="739"/>
                  <a:pt x="4803" y="739"/>
                </a:cubicBezTo>
                <a:cubicBezTo>
                  <a:pt x="4545" y="739"/>
                  <a:pt x="4545" y="739"/>
                  <a:pt x="4545" y="739"/>
                </a:cubicBezTo>
                <a:cubicBezTo>
                  <a:pt x="4231" y="1048"/>
                  <a:pt x="4231" y="1048"/>
                  <a:pt x="4231" y="1048"/>
                </a:cubicBezTo>
                <a:cubicBezTo>
                  <a:pt x="4231" y="370"/>
                  <a:pt x="4231" y="370"/>
                  <a:pt x="4231" y="370"/>
                </a:cubicBezTo>
                <a:cubicBezTo>
                  <a:pt x="4011" y="370"/>
                  <a:pt x="4011" y="370"/>
                  <a:pt x="4011" y="370"/>
                </a:cubicBezTo>
                <a:cubicBezTo>
                  <a:pt x="4011" y="1610"/>
                  <a:pt x="4011" y="1610"/>
                  <a:pt x="4011" y="1610"/>
                </a:cubicBezTo>
                <a:close/>
                <a:moveTo>
                  <a:pt x="3301" y="1610"/>
                </a:moveTo>
                <a:cubicBezTo>
                  <a:pt x="3521" y="1610"/>
                  <a:pt x="3521" y="1610"/>
                  <a:pt x="3521" y="1610"/>
                </a:cubicBezTo>
                <a:cubicBezTo>
                  <a:pt x="3521" y="1141"/>
                  <a:pt x="3521" y="1141"/>
                  <a:pt x="3521" y="1141"/>
                </a:cubicBezTo>
                <a:cubicBezTo>
                  <a:pt x="3521" y="1108"/>
                  <a:pt x="3527" y="1079"/>
                  <a:pt x="3538" y="1053"/>
                </a:cubicBezTo>
                <a:cubicBezTo>
                  <a:pt x="3550" y="1027"/>
                  <a:pt x="3566" y="1005"/>
                  <a:pt x="3586" y="986"/>
                </a:cubicBezTo>
                <a:cubicBezTo>
                  <a:pt x="3606" y="968"/>
                  <a:pt x="3629" y="953"/>
                  <a:pt x="3656" y="943"/>
                </a:cubicBezTo>
                <a:cubicBezTo>
                  <a:pt x="3684" y="934"/>
                  <a:pt x="3712" y="929"/>
                  <a:pt x="3742" y="929"/>
                </a:cubicBezTo>
                <a:cubicBezTo>
                  <a:pt x="3763" y="929"/>
                  <a:pt x="3781" y="930"/>
                  <a:pt x="3797" y="932"/>
                </a:cubicBezTo>
                <a:cubicBezTo>
                  <a:pt x="3812" y="935"/>
                  <a:pt x="3827" y="939"/>
                  <a:pt x="3842" y="945"/>
                </a:cubicBezTo>
                <a:cubicBezTo>
                  <a:pt x="3887" y="739"/>
                  <a:pt x="3887" y="739"/>
                  <a:pt x="3887" y="739"/>
                </a:cubicBezTo>
                <a:cubicBezTo>
                  <a:pt x="3870" y="733"/>
                  <a:pt x="3852" y="728"/>
                  <a:pt x="3836" y="726"/>
                </a:cubicBezTo>
                <a:cubicBezTo>
                  <a:pt x="3819" y="723"/>
                  <a:pt x="3800" y="722"/>
                  <a:pt x="3779" y="722"/>
                </a:cubicBezTo>
                <a:cubicBezTo>
                  <a:pt x="3743" y="722"/>
                  <a:pt x="3711" y="727"/>
                  <a:pt x="3683" y="735"/>
                </a:cubicBezTo>
                <a:cubicBezTo>
                  <a:pt x="3655" y="744"/>
                  <a:pt x="3631" y="754"/>
                  <a:pt x="3610" y="767"/>
                </a:cubicBezTo>
                <a:cubicBezTo>
                  <a:pt x="3589" y="779"/>
                  <a:pt x="3570" y="793"/>
                  <a:pt x="3555" y="808"/>
                </a:cubicBezTo>
                <a:cubicBezTo>
                  <a:pt x="3539" y="823"/>
                  <a:pt x="3527" y="836"/>
                  <a:pt x="3517" y="849"/>
                </a:cubicBezTo>
                <a:cubicBezTo>
                  <a:pt x="3511" y="739"/>
                  <a:pt x="3511" y="739"/>
                  <a:pt x="3511" y="739"/>
                </a:cubicBezTo>
                <a:cubicBezTo>
                  <a:pt x="3301" y="739"/>
                  <a:pt x="3301" y="739"/>
                  <a:pt x="3301" y="739"/>
                </a:cubicBezTo>
                <a:cubicBezTo>
                  <a:pt x="3301" y="1610"/>
                  <a:pt x="3301" y="1610"/>
                  <a:pt x="3301" y="1610"/>
                </a:cubicBezTo>
                <a:close/>
                <a:moveTo>
                  <a:pt x="2548" y="1426"/>
                </a:moveTo>
                <a:cubicBezTo>
                  <a:pt x="2517" y="1409"/>
                  <a:pt x="2492" y="1387"/>
                  <a:pt x="2471" y="1360"/>
                </a:cubicBezTo>
                <a:cubicBezTo>
                  <a:pt x="2451" y="1333"/>
                  <a:pt x="2435" y="1303"/>
                  <a:pt x="2426" y="1271"/>
                </a:cubicBezTo>
                <a:cubicBezTo>
                  <a:pt x="2416" y="1238"/>
                  <a:pt x="2411" y="1206"/>
                  <a:pt x="2411" y="1174"/>
                </a:cubicBezTo>
                <a:cubicBezTo>
                  <a:pt x="2411" y="1143"/>
                  <a:pt x="2416" y="1111"/>
                  <a:pt x="2426" y="1078"/>
                </a:cubicBezTo>
                <a:cubicBezTo>
                  <a:pt x="2435" y="1045"/>
                  <a:pt x="2451" y="1016"/>
                  <a:pt x="2471" y="989"/>
                </a:cubicBezTo>
                <a:cubicBezTo>
                  <a:pt x="2492" y="962"/>
                  <a:pt x="2517" y="941"/>
                  <a:pt x="2548" y="924"/>
                </a:cubicBezTo>
                <a:cubicBezTo>
                  <a:pt x="2579" y="907"/>
                  <a:pt x="2616" y="899"/>
                  <a:pt x="2658" y="899"/>
                </a:cubicBezTo>
                <a:cubicBezTo>
                  <a:pt x="2700" y="899"/>
                  <a:pt x="2737" y="907"/>
                  <a:pt x="2768" y="924"/>
                </a:cubicBezTo>
                <a:cubicBezTo>
                  <a:pt x="2799" y="941"/>
                  <a:pt x="2824" y="962"/>
                  <a:pt x="2845" y="989"/>
                </a:cubicBezTo>
                <a:cubicBezTo>
                  <a:pt x="2865" y="1016"/>
                  <a:pt x="2880" y="1045"/>
                  <a:pt x="2890" y="1078"/>
                </a:cubicBezTo>
                <a:cubicBezTo>
                  <a:pt x="2900" y="1111"/>
                  <a:pt x="2905" y="1143"/>
                  <a:pt x="2905" y="1174"/>
                </a:cubicBezTo>
                <a:cubicBezTo>
                  <a:pt x="2905" y="1206"/>
                  <a:pt x="2900" y="1238"/>
                  <a:pt x="2890" y="1271"/>
                </a:cubicBezTo>
                <a:cubicBezTo>
                  <a:pt x="2880" y="1303"/>
                  <a:pt x="2865" y="1333"/>
                  <a:pt x="2845" y="1360"/>
                </a:cubicBezTo>
                <a:cubicBezTo>
                  <a:pt x="2824" y="1387"/>
                  <a:pt x="2799" y="1409"/>
                  <a:pt x="2768" y="1426"/>
                </a:cubicBezTo>
                <a:cubicBezTo>
                  <a:pt x="2737" y="1443"/>
                  <a:pt x="2700" y="1451"/>
                  <a:pt x="2658" y="1451"/>
                </a:cubicBezTo>
                <a:cubicBezTo>
                  <a:pt x="2616" y="1451"/>
                  <a:pt x="2579" y="1443"/>
                  <a:pt x="2548" y="1426"/>
                </a:cubicBezTo>
                <a:cubicBezTo>
                  <a:pt x="2548" y="1426"/>
                  <a:pt x="2548" y="1426"/>
                  <a:pt x="2548" y="1426"/>
                </a:cubicBezTo>
                <a:close/>
                <a:moveTo>
                  <a:pt x="2320" y="1502"/>
                </a:moveTo>
                <a:cubicBezTo>
                  <a:pt x="2360" y="1545"/>
                  <a:pt x="2410" y="1579"/>
                  <a:pt x="2467" y="1603"/>
                </a:cubicBezTo>
                <a:cubicBezTo>
                  <a:pt x="2525" y="1628"/>
                  <a:pt x="2589" y="1641"/>
                  <a:pt x="2658" y="1641"/>
                </a:cubicBezTo>
                <a:cubicBezTo>
                  <a:pt x="2727" y="1641"/>
                  <a:pt x="2791" y="1628"/>
                  <a:pt x="2849" y="1603"/>
                </a:cubicBezTo>
                <a:cubicBezTo>
                  <a:pt x="2906" y="1579"/>
                  <a:pt x="2955" y="1545"/>
                  <a:pt x="2996" y="1502"/>
                </a:cubicBezTo>
                <a:cubicBezTo>
                  <a:pt x="3037" y="1459"/>
                  <a:pt x="3069" y="1410"/>
                  <a:pt x="3092" y="1353"/>
                </a:cubicBezTo>
                <a:cubicBezTo>
                  <a:pt x="3115" y="1297"/>
                  <a:pt x="3126" y="1237"/>
                  <a:pt x="3126" y="1174"/>
                </a:cubicBezTo>
                <a:cubicBezTo>
                  <a:pt x="3126" y="1111"/>
                  <a:pt x="3115" y="1051"/>
                  <a:pt x="3092" y="995"/>
                </a:cubicBezTo>
                <a:cubicBezTo>
                  <a:pt x="3069" y="938"/>
                  <a:pt x="3037" y="889"/>
                  <a:pt x="2996" y="847"/>
                </a:cubicBezTo>
                <a:cubicBezTo>
                  <a:pt x="2955" y="805"/>
                  <a:pt x="2906" y="771"/>
                  <a:pt x="2849" y="746"/>
                </a:cubicBezTo>
                <a:cubicBezTo>
                  <a:pt x="2791" y="722"/>
                  <a:pt x="2727" y="709"/>
                  <a:pt x="2658" y="709"/>
                </a:cubicBezTo>
                <a:cubicBezTo>
                  <a:pt x="2589" y="709"/>
                  <a:pt x="2525" y="722"/>
                  <a:pt x="2467" y="746"/>
                </a:cubicBezTo>
                <a:cubicBezTo>
                  <a:pt x="2410" y="771"/>
                  <a:pt x="2360" y="805"/>
                  <a:pt x="2320" y="847"/>
                </a:cubicBezTo>
                <a:cubicBezTo>
                  <a:pt x="2279" y="889"/>
                  <a:pt x="2247" y="938"/>
                  <a:pt x="2224" y="995"/>
                </a:cubicBezTo>
                <a:cubicBezTo>
                  <a:pt x="2201" y="1051"/>
                  <a:pt x="2189" y="1111"/>
                  <a:pt x="2189" y="1174"/>
                </a:cubicBezTo>
                <a:cubicBezTo>
                  <a:pt x="2189" y="1237"/>
                  <a:pt x="2201" y="1297"/>
                  <a:pt x="2224" y="1353"/>
                </a:cubicBezTo>
                <a:cubicBezTo>
                  <a:pt x="2247" y="1410"/>
                  <a:pt x="2279" y="1459"/>
                  <a:pt x="2320" y="1502"/>
                </a:cubicBezTo>
                <a:close/>
                <a:moveTo>
                  <a:pt x="1868" y="1554"/>
                </a:moveTo>
                <a:cubicBezTo>
                  <a:pt x="1839" y="1588"/>
                  <a:pt x="1786" y="1642"/>
                  <a:pt x="1703" y="1642"/>
                </a:cubicBezTo>
                <a:cubicBezTo>
                  <a:pt x="1586" y="1642"/>
                  <a:pt x="1548" y="1557"/>
                  <a:pt x="1512" y="1468"/>
                </a:cubicBezTo>
                <a:cubicBezTo>
                  <a:pt x="1336" y="1035"/>
                  <a:pt x="1336" y="1035"/>
                  <a:pt x="1336" y="1035"/>
                </a:cubicBezTo>
                <a:cubicBezTo>
                  <a:pt x="1160" y="1468"/>
                  <a:pt x="1160" y="1468"/>
                  <a:pt x="1160" y="1468"/>
                </a:cubicBezTo>
                <a:cubicBezTo>
                  <a:pt x="1130" y="1542"/>
                  <a:pt x="1098" y="1642"/>
                  <a:pt x="969" y="1642"/>
                </a:cubicBezTo>
                <a:cubicBezTo>
                  <a:pt x="841" y="1642"/>
                  <a:pt x="808" y="1542"/>
                  <a:pt x="778" y="1468"/>
                </a:cubicBezTo>
                <a:cubicBezTo>
                  <a:pt x="482" y="739"/>
                  <a:pt x="482" y="739"/>
                  <a:pt x="482" y="739"/>
                </a:cubicBezTo>
                <a:cubicBezTo>
                  <a:pt x="731" y="739"/>
                  <a:pt x="731" y="739"/>
                  <a:pt x="731" y="739"/>
                </a:cubicBezTo>
                <a:cubicBezTo>
                  <a:pt x="969" y="1339"/>
                  <a:pt x="969" y="1339"/>
                  <a:pt x="969" y="1339"/>
                </a:cubicBezTo>
                <a:cubicBezTo>
                  <a:pt x="1146" y="902"/>
                  <a:pt x="1146" y="902"/>
                  <a:pt x="1146" y="902"/>
                </a:cubicBezTo>
                <a:cubicBezTo>
                  <a:pt x="1174" y="833"/>
                  <a:pt x="1208" y="728"/>
                  <a:pt x="1336" y="728"/>
                </a:cubicBezTo>
                <a:cubicBezTo>
                  <a:pt x="1463" y="728"/>
                  <a:pt x="1497" y="833"/>
                  <a:pt x="1525" y="902"/>
                </a:cubicBezTo>
                <a:cubicBezTo>
                  <a:pt x="1718" y="1375"/>
                  <a:pt x="1718" y="1375"/>
                  <a:pt x="1718" y="1375"/>
                </a:cubicBezTo>
                <a:cubicBezTo>
                  <a:pt x="1795" y="1258"/>
                  <a:pt x="1841" y="1118"/>
                  <a:pt x="1841" y="967"/>
                </a:cubicBezTo>
                <a:cubicBezTo>
                  <a:pt x="1841" y="558"/>
                  <a:pt x="1509" y="226"/>
                  <a:pt x="1100" y="226"/>
                </a:cubicBezTo>
                <a:cubicBezTo>
                  <a:pt x="866" y="226"/>
                  <a:pt x="647" y="317"/>
                  <a:pt x="482" y="482"/>
                </a:cubicBezTo>
                <a:cubicBezTo>
                  <a:pt x="317" y="647"/>
                  <a:pt x="226" y="867"/>
                  <a:pt x="226" y="1100"/>
                </a:cubicBezTo>
                <a:cubicBezTo>
                  <a:pt x="226" y="1334"/>
                  <a:pt x="317" y="1553"/>
                  <a:pt x="482" y="1718"/>
                </a:cubicBezTo>
                <a:cubicBezTo>
                  <a:pt x="647" y="1884"/>
                  <a:pt x="867" y="1975"/>
                  <a:pt x="1101" y="1975"/>
                </a:cubicBezTo>
                <a:cubicBezTo>
                  <a:pt x="1181" y="1975"/>
                  <a:pt x="1260" y="1964"/>
                  <a:pt x="1337" y="1942"/>
                </a:cubicBezTo>
                <a:cubicBezTo>
                  <a:pt x="1337" y="2174"/>
                  <a:pt x="1337" y="2174"/>
                  <a:pt x="1337" y="2174"/>
                </a:cubicBezTo>
                <a:cubicBezTo>
                  <a:pt x="1259" y="2191"/>
                  <a:pt x="1180" y="2200"/>
                  <a:pt x="1101" y="2200"/>
                </a:cubicBezTo>
                <a:cubicBezTo>
                  <a:pt x="952" y="2200"/>
                  <a:pt x="807" y="2171"/>
                  <a:pt x="672" y="2114"/>
                </a:cubicBezTo>
                <a:cubicBezTo>
                  <a:pt x="541" y="2058"/>
                  <a:pt x="423" y="1979"/>
                  <a:pt x="322" y="1878"/>
                </a:cubicBezTo>
                <a:cubicBezTo>
                  <a:pt x="221" y="1777"/>
                  <a:pt x="142" y="1659"/>
                  <a:pt x="86" y="1528"/>
                </a:cubicBezTo>
                <a:cubicBezTo>
                  <a:pt x="29" y="1393"/>
                  <a:pt x="0" y="1249"/>
                  <a:pt x="0" y="1100"/>
                </a:cubicBezTo>
                <a:cubicBezTo>
                  <a:pt x="0" y="952"/>
                  <a:pt x="29" y="808"/>
                  <a:pt x="86" y="672"/>
                </a:cubicBezTo>
                <a:cubicBezTo>
                  <a:pt x="142" y="541"/>
                  <a:pt x="221" y="423"/>
                  <a:pt x="322" y="322"/>
                </a:cubicBezTo>
                <a:cubicBezTo>
                  <a:pt x="423" y="222"/>
                  <a:pt x="541" y="142"/>
                  <a:pt x="672" y="87"/>
                </a:cubicBezTo>
                <a:cubicBezTo>
                  <a:pt x="807" y="29"/>
                  <a:pt x="951" y="0"/>
                  <a:pt x="1100" y="0"/>
                </a:cubicBezTo>
                <a:cubicBezTo>
                  <a:pt x="1634" y="0"/>
                  <a:pt x="2066" y="433"/>
                  <a:pt x="2066" y="967"/>
                </a:cubicBezTo>
                <a:cubicBezTo>
                  <a:pt x="2066" y="1188"/>
                  <a:pt x="1992" y="1391"/>
                  <a:pt x="1868" y="1554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42;p4"/>
          <p:cNvSpPr txBox="1">
            <a:spLocks noGrp="1"/>
          </p:cNvSpPr>
          <p:nvPr>
            <p:ph type="title"/>
          </p:nvPr>
        </p:nvSpPr>
        <p:spPr>
          <a:xfrm>
            <a:off x="713232" y="2459750"/>
            <a:ext cx="10733100" cy="11733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4"/>
          <p:cNvSpPr txBox="1">
            <a:spLocks noGrp="1"/>
          </p:cNvSpPr>
          <p:nvPr>
            <p:ph type="subTitle" idx="1"/>
          </p:nvPr>
        </p:nvSpPr>
        <p:spPr>
          <a:xfrm>
            <a:off x="713225" y="3633050"/>
            <a:ext cx="10733100" cy="1196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lvl="1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978390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Screenshot">
  <p:cSld name="Section Header Screensho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5"/>
          <p:cNvSpPr txBox="1">
            <a:spLocks noGrp="1"/>
          </p:cNvSpPr>
          <p:nvPr>
            <p:ph type="sldNum" idx="12"/>
          </p:nvPr>
        </p:nvSpPr>
        <p:spPr>
          <a:xfrm>
            <a:off x="12442170" y="7020201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5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6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" name="Google Shape;48;p5"/>
          <p:cNvGrpSpPr/>
          <p:nvPr/>
        </p:nvGrpSpPr>
        <p:grpSpPr>
          <a:xfrm>
            <a:off x="10696332" y="6192882"/>
            <a:ext cx="766723" cy="247496"/>
            <a:chOff x="10717975" y="6060934"/>
            <a:chExt cx="766742" cy="247496"/>
          </a:xfrm>
        </p:grpSpPr>
        <p:sp>
          <p:nvSpPr>
            <p:cNvPr id="49" name="Google Shape;49;p5"/>
            <p:cNvSpPr/>
            <p:nvPr/>
          </p:nvSpPr>
          <p:spPr>
            <a:xfrm>
              <a:off x="10717975" y="6222991"/>
              <a:ext cx="766742" cy="85439"/>
            </a:xfrm>
            <a:custGeom>
              <a:avLst/>
              <a:gdLst/>
              <a:ahLst/>
              <a:cxnLst/>
              <a:rect l="l" t="t" r="r" b="b"/>
              <a:pathLst>
                <a:path w="4110" h="452" extrusionOk="0">
                  <a:moveTo>
                    <a:pt x="319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2" y="9"/>
                    <a:pt x="0" y="11"/>
                    <a:pt x="0" y="15"/>
                  </a:cubicBezTo>
                  <a:cubicBezTo>
                    <a:pt x="0" y="438"/>
                    <a:pt x="0" y="438"/>
                    <a:pt x="0" y="438"/>
                  </a:cubicBezTo>
                  <a:cubicBezTo>
                    <a:pt x="0" y="442"/>
                    <a:pt x="2" y="444"/>
                    <a:pt x="6" y="444"/>
                  </a:cubicBezTo>
                  <a:cubicBezTo>
                    <a:pt x="67" y="444"/>
                    <a:pt x="67" y="444"/>
                    <a:pt x="67" y="444"/>
                  </a:cubicBezTo>
                  <a:cubicBezTo>
                    <a:pt x="71" y="444"/>
                    <a:pt x="74" y="442"/>
                    <a:pt x="74" y="438"/>
                  </a:cubicBezTo>
                  <a:cubicBezTo>
                    <a:pt x="74" y="265"/>
                    <a:pt x="74" y="265"/>
                    <a:pt x="74" y="265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0" y="265"/>
                    <a:pt x="283" y="262"/>
                    <a:pt x="283" y="259"/>
                  </a:cubicBezTo>
                  <a:cubicBezTo>
                    <a:pt x="283" y="201"/>
                    <a:pt x="283" y="201"/>
                    <a:pt x="283" y="201"/>
                  </a:cubicBezTo>
                  <a:cubicBezTo>
                    <a:pt x="283" y="198"/>
                    <a:pt x="280" y="195"/>
                    <a:pt x="277" y="195"/>
                  </a:cubicBezTo>
                  <a:cubicBezTo>
                    <a:pt x="74" y="195"/>
                    <a:pt x="74" y="195"/>
                    <a:pt x="74" y="195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319" y="78"/>
                    <a:pt x="319" y="78"/>
                    <a:pt x="319" y="78"/>
                  </a:cubicBezTo>
                  <a:cubicBezTo>
                    <a:pt x="323" y="78"/>
                    <a:pt x="326" y="76"/>
                    <a:pt x="326" y="72"/>
                  </a:cubicBezTo>
                  <a:cubicBezTo>
                    <a:pt x="326" y="15"/>
                    <a:pt x="326" y="15"/>
                    <a:pt x="326" y="15"/>
                  </a:cubicBezTo>
                  <a:cubicBezTo>
                    <a:pt x="326" y="11"/>
                    <a:pt x="323" y="9"/>
                    <a:pt x="319" y="9"/>
                  </a:cubicBezTo>
                  <a:close/>
                  <a:moveTo>
                    <a:pt x="673" y="17"/>
                  </a:moveTo>
                  <a:cubicBezTo>
                    <a:pt x="671" y="11"/>
                    <a:pt x="667" y="9"/>
                    <a:pt x="661" y="9"/>
                  </a:cubicBezTo>
                  <a:cubicBezTo>
                    <a:pt x="573" y="9"/>
                    <a:pt x="573" y="9"/>
                    <a:pt x="573" y="9"/>
                  </a:cubicBezTo>
                  <a:cubicBezTo>
                    <a:pt x="567" y="9"/>
                    <a:pt x="564" y="11"/>
                    <a:pt x="561" y="17"/>
                  </a:cubicBezTo>
                  <a:cubicBezTo>
                    <a:pt x="501" y="145"/>
                    <a:pt x="441" y="298"/>
                    <a:pt x="402" y="437"/>
                  </a:cubicBezTo>
                  <a:cubicBezTo>
                    <a:pt x="400" y="442"/>
                    <a:pt x="403" y="444"/>
                    <a:pt x="407" y="444"/>
                  </a:cubicBezTo>
                  <a:cubicBezTo>
                    <a:pt x="473" y="444"/>
                    <a:pt x="473" y="444"/>
                    <a:pt x="473" y="444"/>
                  </a:cubicBezTo>
                  <a:cubicBezTo>
                    <a:pt x="476" y="444"/>
                    <a:pt x="479" y="442"/>
                    <a:pt x="480" y="438"/>
                  </a:cubicBezTo>
                  <a:cubicBezTo>
                    <a:pt x="488" y="403"/>
                    <a:pt x="499" y="365"/>
                    <a:pt x="512" y="327"/>
                  </a:cubicBezTo>
                  <a:cubicBezTo>
                    <a:pt x="720" y="327"/>
                    <a:pt x="720" y="327"/>
                    <a:pt x="720" y="327"/>
                  </a:cubicBezTo>
                  <a:cubicBezTo>
                    <a:pt x="732" y="365"/>
                    <a:pt x="743" y="403"/>
                    <a:pt x="752" y="438"/>
                  </a:cubicBezTo>
                  <a:cubicBezTo>
                    <a:pt x="753" y="442"/>
                    <a:pt x="756" y="444"/>
                    <a:pt x="759" y="444"/>
                  </a:cubicBezTo>
                  <a:cubicBezTo>
                    <a:pt x="827" y="444"/>
                    <a:pt x="827" y="444"/>
                    <a:pt x="827" y="444"/>
                  </a:cubicBezTo>
                  <a:cubicBezTo>
                    <a:pt x="832" y="444"/>
                    <a:pt x="834" y="442"/>
                    <a:pt x="833" y="437"/>
                  </a:cubicBezTo>
                  <a:cubicBezTo>
                    <a:pt x="793" y="298"/>
                    <a:pt x="734" y="145"/>
                    <a:pt x="673" y="17"/>
                  </a:cubicBezTo>
                  <a:close/>
                  <a:moveTo>
                    <a:pt x="534" y="260"/>
                  </a:moveTo>
                  <a:cubicBezTo>
                    <a:pt x="557" y="197"/>
                    <a:pt x="583" y="134"/>
                    <a:pt x="608" y="77"/>
                  </a:cubicBezTo>
                  <a:cubicBezTo>
                    <a:pt x="623" y="77"/>
                    <a:pt x="623" y="77"/>
                    <a:pt x="623" y="77"/>
                  </a:cubicBezTo>
                  <a:cubicBezTo>
                    <a:pt x="649" y="134"/>
                    <a:pt x="674" y="197"/>
                    <a:pt x="697" y="260"/>
                  </a:cubicBezTo>
                  <a:lnTo>
                    <a:pt x="534" y="260"/>
                  </a:lnTo>
                  <a:close/>
                  <a:moveTo>
                    <a:pt x="1164" y="0"/>
                  </a:moveTo>
                  <a:cubicBezTo>
                    <a:pt x="1154" y="0"/>
                    <a:pt x="1154" y="0"/>
                    <a:pt x="1154" y="0"/>
                  </a:cubicBezTo>
                  <a:cubicBezTo>
                    <a:pt x="1027" y="0"/>
                    <a:pt x="939" y="95"/>
                    <a:pt x="939" y="230"/>
                  </a:cubicBezTo>
                  <a:cubicBezTo>
                    <a:pt x="939" y="363"/>
                    <a:pt x="1024" y="452"/>
                    <a:pt x="1153" y="452"/>
                  </a:cubicBezTo>
                  <a:cubicBezTo>
                    <a:pt x="1163" y="452"/>
                    <a:pt x="1163" y="452"/>
                    <a:pt x="1163" y="452"/>
                  </a:cubicBezTo>
                  <a:cubicBezTo>
                    <a:pt x="1238" y="452"/>
                    <a:pt x="1301" y="421"/>
                    <a:pt x="1335" y="371"/>
                  </a:cubicBezTo>
                  <a:cubicBezTo>
                    <a:pt x="1336" y="369"/>
                    <a:pt x="1337" y="368"/>
                    <a:pt x="1337" y="366"/>
                  </a:cubicBezTo>
                  <a:cubicBezTo>
                    <a:pt x="1337" y="364"/>
                    <a:pt x="1336" y="363"/>
                    <a:pt x="1334" y="362"/>
                  </a:cubicBezTo>
                  <a:cubicBezTo>
                    <a:pt x="1278" y="334"/>
                    <a:pt x="1278" y="334"/>
                    <a:pt x="1278" y="334"/>
                  </a:cubicBezTo>
                  <a:cubicBezTo>
                    <a:pt x="1274" y="332"/>
                    <a:pt x="1270" y="333"/>
                    <a:pt x="1267" y="336"/>
                  </a:cubicBezTo>
                  <a:cubicBezTo>
                    <a:pt x="1244" y="363"/>
                    <a:pt x="1214" y="381"/>
                    <a:pt x="1161" y="381"/>
                  </a:cubicBezTo>
                  <a:cubicBezTo>
                    <a:pt x="1152" y="381"/>
                    <a:pt x="1152" y="381"/>
                    <a:pt x="1152" y="381"/>
                  </a:cubicBezTo>
                  <a:cubicBezTo>
                    <a:pt x="1071" y="381"/>
                    <a:pt x="1017" y="319"/>
                    <a:pt x="1017" y="227"/>
                  </a:cubicBezTo>
                  <a:cubicBezTo>
                    <a:pt x="1017" y="135"/>
                    <a:pt x="1072" y="71"/>
                    <a:pt x="1152" y="71"/>
                  </a:cubicBezTo>
                  <a:cubicBezTo>
                    <a:pt x="1161" y="71"/>
                    <a:pt x="1161" y="71"/>
                    <a:pt x="1161" y="71"/>
                  </a:cubicBezTo>
                  <a:cubicBezTo>
                    <a:pt x="1212" y="71"/>
                    <a:pt x="1247" y="93"/>
                    <a:pt x="1270" y="132"/>
                  </a:cubicBezTo>
                  <a:cubicBezTo>
                    <a:pt x="1272" y="137"/>
                    <a:pt x="1277" y="137"/>
                    <a:pt x="1281" y="135"/>
                  </a:cubicBezTo>
                  <a:cubicBezTo>
                    <a:pt x="1335" y="108"/>
                    <a:pt x="1335" y="108"/>
                    <a:pt x="1335" y="108"/>
                  </a:cubicBezTo>
                  <a:cubicBezTo>
                    <a:pt x="1339" y="106"/>
                    <a:pt x="1340" y="103"/>
                    <a:pt x="1338" y="99"/>
                  </a:cubicBezTo>
                  <a:cubicBezTo>
                    <a:pt x="1305" y="41"/>
                    <a:pt x="1243" y="0"/>
                    <a:pt x="1164" y="0"/>
                  </a:cubicBezTo>
                  <a:close/>
                  <a:moveTo>
                    <a:pt x="1827" y="374"/>
                  </a:moveTo>
                  <a:cubicBezTo>
                    <a:pt x="1568" y="374"/>
                    <a:pt x="1568" y="374"/>
                    <a:pt x="1568" y="374"/>
                  </a:cubicBezTo>
                  <a:cubicBezTo>
                    <a:pt x="1568" y="260"/>
                    <a:pt x="1568" y="260"/>
                    <a:pt x="1568" y="260"/>
                  </a:cubicBezTo>
                  <a:cubicBezTo>
                    <a:pt x="1774" y="260"/>
                    <a:pt x="1774" y="260"/>
                    <a:pt x="1774" y="260"/>
                  </a:cubicBezTo>
                  <a:cubicBezTo>
                    <a:pt x="1778" y="260"/>
                    <a:pt x="1780" y="258"/>
                    <a:pt x="1780" y="254"/>
                  </a:cubicBezTo>
                  <a:cubicBezTo>
                    <a:pt x="1780" y="198"/>
                    <a:pt x="1780" y="198"/>
                    <a:pt x="1780" y="198"/>
                  </a:cubicBezTo>
                  <a:cubicBezTo>
                    <a:pt x="1780" y="194"/>
                    <a:pt x="1778" y="191"/>
                    <a:pt x="1774" y="191"/>
                  </a:cubicBezTo>
                  <a:cubicBezTo>
                    <a:pt x="1568" y="191"/>
                    <a:pt x="1568" y="191"/>
                    <a:pt x="1568" y="191"/>
                  </a:cubicBezTo>
                  <a:cubicBezTo>
                    <a:pt x="1568" y="78"/>
                    <a:pt x="1568" y="78"/>
                    <a:pt x="1568" y="78"/>
                  </a:cubicBezTo>
                  <a:cubicBezTo>
                    <a:pt x="1821" y="78"/>
                    <a:pt x="1821" y="78"/>
                    <a:pt x="1821" y="78"/>
                  </a:cubicBezTo>
                  <a:cubicBezTo>
                    <a:pt x="1825" y="78"/>
                    <a:pt x="1828" y="76"/>
                    <a:pt x="1828" y="72"/>
                  </a:cubicBezTo>
                  <a:cubicBezTo>
                    <a:pt x="1828" y="15"/>
                    <a:pt x="1828" y="15"/>
                    <a:pt x="1828" y="15"/>
                  </a:cubicBezTo>
                  <a:cubicBezTo>
                    <a:pt x="1828" y="11"/>
                    <a:pt x="1825" y="9"/>
                    <a:pt x="1821" y="9"/>
                  </a:cubicBezTo>
                  <a:cubicBezTo>
                    <a:pt x="1500" y="9"/>
                    <a:pt x="1500" y="9"/>
                    <a:pt x="1500" y="9"/>
                  </a:cubicBezTo>
                  <a:cubicBezTo>
                    <a:pt x="1497" y="9"/>
                    <a:pt x="1494" y="11"/>
                    <a:pt x="1494" y="15"/>
                  </a:cubicBezTo>
                  <a:cubicBezTo>
                    <a:pt x="1494" y="438"/>
                    <a:pt x="1494" y="438"/>
                    <a:pt x="1494" y="438"/>
                  </a:cubicBezTo>
                  <a:cubicBezTo>
                    <a:pt x="1494" y="442"/>
                    <a:pt x="1497" y="444"/>
                    <a:pt x="1500" y="444"/>
                  </a:cubicBezTo>
                  <a:cubicBezTo>
                    <a:pt x="1827" y="444"/>
                    <a:pt x="1827" y="444"/>
                    <a:pt x="1827" y="444"/>
                  </a:cubicBezTo>
                  <a:cubicBezTo>
                    <a:pt x="1831" y="444"/>
                    <a:pt x="1833" y="442"/>
                    <a:pt x="1833" y="438"/>
                  </a:cubicBezTo>
                  <a:cubicBezTo>
                    <a:pt x="1833" y="381"/>
                    <a:pt x="1833" y="381"/>
                    <a:pt x="1833" y="381"/>
                  </a:cubicBezTo>
                  <a:cubicBezTo>
                    <a:pt x="1833" y="377"/>
                    <a:pt x="1831" y="374"/>
                    <a:pt x="1827" y="374"/>
                  </a:cubicBezTo>
                  <a:close/>
                  <a:moveTo>
                    <a:pt x="2297" y="215"/>
                  </a:moveTo>
                  <a:cubicBezTo>
                    <a:pt x="2346" y="200"/>
                    <a:pt x="2370" y="169"/>
                    <a:pt x="2370" y="121"/>
                  </a:cubicBezTo>
                  <a:cubicBezTo>
                    <a:pt x="2370" y="48"/>
                    <a:pt x="2315" y="9"/>
                    <a:pt x="2215" y="9"/>
                  </a:cubicBezTo>
                  <a:cubicBezTo>
                    <a:pt x="2020" y="9"/>
                    <a:pt x="2020" y="9"/>
                    <a:pt x="2020" y="9"/>
                  </a:cubicBezTo>
                  <a:cubicBezTo>
                    <a:pt x="2016" y="9"/>
                    <a:pt x="2014" y="11"/>
                    <a:pt x="2014" y="15"/>
                  </a:cubicBezTo>
                  <a:cubicBezTo>
                    <a:pt x="2014" y="438"/>
                    <a:pt x="2014" y="438"/>
                    <a:pt x="2014" y="438"/>
                  </a:cubicBezTo>
                  <a:cubicBezTo>
                    <a:pt x="2014" y="442"/>
                    <a:pt x="2016" y="444"/>
                    <a:pt x="2020" y="444"/>
                  </a:cubicBezTo>
                  <a:cubicBezTo>
                    <a:pt x="2234" y="444"/>
                    <a:pt x="2234" y="444"/>
                    <a:pt x="2234" y="444"/>
                  </a:cubicBezTo>
                  <a:cubicBezTo>
                    <a:pt x="2337" y="444"/>
                    <a:pt x="2396" y="401"/>
                    <a:pt x="2396" y="325"/>
                  </a:cubicBezTo>
                  <a:cubicBezTo>
                    <a:pt x="2396" y="271"/>
                    <a:pt x="2366" y="230"/>
                    <a:pt x="2297" y="215"/>
                  </a:cubicBezTo>
                  <a:close/>
                  <a:moveTo>
                    <a:pt x="2088" y="76"/>
                  </a:moveTo>
                  <a:cubicBezTo>
                    <a:pt x="2213" y="76"/>
                    <a:pt x="2213" y="76"/>
                    <a:pt x="2213" y="76"/>
                  </a:cubicBezTo>
                  <a:cubicBezTo>
                    <a:pt x="2270" y="76"/>
                    <a:pt x="2295" y="95"/>
                    <a:pt x="2295" y="135"/>
                  </a:cubicBezTo>
                  <a:cubicBezTo>
                    <a:pt x="2295" y="175"/>
                    <a:pt x="2270" y="193"/>
                    <a:pt x="2213" y="193"/>
                  </a:cubicBezTo>
                  <a:cubicBezTo>
                    <a:pt x="2088" y="193"/>
                    <a:pt x="2088" y="193"/>
                    <a:pt x="2088" y="193"/>
                  </a:cubicBezTo>
                  <a:lnTo>
                    <a:pt x="2088" y="76"/>
                  </a:lnTo>
                  <a:close/>
                  <a:moveTo>
                    <a:pt x="2234" y="376"/>
                  </a:moveTo>
                  <a:cubicBezTo>
                    <a:pt x="2088" y="376"/>
                    <a:pt x="2088" y="376"/>
                    <a:pt x="2088" y="376"/>
                  </a:cubicBezTo>
                  <a:cubicBezTo>
                    <a:pt x="2088" y="259"/>
                    <a:pt x="2088" y="259"/>
                    <a:pt x="2088" y="259"/>
                  </a:cubicBezTo>
                  <a:cubicBezTo>
                    <a:pt x="2234" y="259"/>
                    <a:pt x="2234" y="259"/>
                    <a:pt x="2234" y="259"/>
                  </a:cubicBezTo>
                  <a:cubicBezTo>
                    <a:pt x="2293" y="259"/>
                    <a:pt x="2320" y="278"/>
                    <a:pt x="2320" y="318"/>
                  </a:cubicBezTo>
                  <a:cubicBezTo>
                    <a:pt x="2320" y="359"/>
                    <a:pt x="2294" y="376"/>
                    <a:pt x="2234" y="376"/>
                  </a:cubicBezTo>
                  <a:close/>
                  <a:moveTo>
                    <a:pt x="2759" y="0"/>
                  </a:moveTo>
                  <a:cubicBezTo>
                    <a:pt x="2750" y="0"/>
                    <a:pt x="2750" y="0"/>
                    <a:pt x="2750" y="0"/>
                  </a:cubicBezTo>
                  <a:cubicBezTo>
                    <a:pt x="2613" y="0"/>
                    <a:pt x="2526" y="95"/>
                    <a:pt x="2526" y="226"/>
                  </a:cubicBezTo>
                  <a:cubicBezTo>
                    <a:pt x="2526" y="358"/>
                    <a:pt x="2613" y="452"/>
                    <a:pt x="2750" y="452"/>
                  </a:cubicBezTo>
                  <a:cubicBezTo>
                    <a:pt x="2759" y="452"/>
                    <a:pt x="2759" y="452"/>
                    <a:pt x="2759" y="452"/>
                  </a:cubicBezTo>
                  <a:cubicBezTo>
                    <a:pt x="2896" y="452"/>
                    <a:pt x="2983" y="358"/>
                    <a:pt x="2983" y="226"/>
                  </a:cubicBezTo>
                  <a:cubicBezTo>
                    <a:pt x="2983" y="95"/>
                    <a:pt x="2896" y="0"/>
                    <a:pt x="2759" y="0"/>
                  </a:cubicBezTo>
                  <a:close/>
                  <a:moveTo>
                    <a:pt x="2759" y="381"/>
                  </a:moveTo>
                  <a:cubicBezTo>
                    <a:pt x="2750" y="381"/>
                    <a:pt x="2750" y="381"/>
                    <a:pt x="2750" y="381"/>
                  </a:cubicBezTo>
                  <a:cubicBezTo>
                    <a:pt x="2661" y="381"/>
                    <a:pt x="2604" y="320"/>
                    <a:pt x="2604" y="226"/>
                  </a:cubicBezTo>
                  <a:cubicBezTo>
                    <a:pt x="2604" y="133"/>
                    <a:pt x="2661" y="71"/>
                    <a:pt x="2750" y="71"/>
                  </a:cubicBezTo>
                  <a:cubicBezTo>
                    <a:pt x="2759" y="71"/>
                    <a:pt x="2759" y="71"/>
                    <a:pt x="2759" y="71"/>
                  </a:cubicBezTo>
                  <a:cubicBezTo>
                    <a:pt x="2849" y="71"/>
                    <a:pt x="2905" y="133"/>
                    <a:pt x="2905" y="226"/>
                  </a:cubicBezTo>
                  <a:cubicBezTo>
                    <a:pt x="2905" y="320"/>
                    <a:pt x="2849" y="381"/>
                    <a:pt x="2759" y="381"/>
                  </a:cubicBezTo>
                  <a:close/>
                  <a:moveTo>
                    <a:pt x="3343" y="0"/>
                  </a:moveTo>
                  <a:cubicBezTo>
                    <a:pt x="3334" y="0"/>
                    <a:pt x="3334" y="0"/>
                    <a:pt x="3334" y="0"/>
                  </a:cubicBezTo>
                  <a:cubicBezTo>
                    <a:pt x="3197" y="0"/>
                    <a:pt x="3110" y="95"/>
                    <a:pt x="3110" y="226"/>
                  </a:cubicBezTo>
                  <a:cubicBezTo>
                    <a:pt x="3110" y="358"/>
                    <a:pt x="3197" y="452"/>
                    <a:pt x="3334" y="452"/>
                  </a:cubicBezTo>
                  <a:cubicBezTo>
                    <a:pt x="3343" y="452"/>
                    <a:pt x="3343" y="452"/>
                    <a:pt x="3343" y="452"/>
                  </a:cubicBezTo>
                  <a:cubicBezTo>
                    <a:pt x="3480" y="452"/>
                    <a:pt x="3567" y="358"/>
                    <a:pt x="3567" y="226"/>
                  </a:cubicBezTo>
                  <a:cubicBezTo>
                    <a:pt x="3567" y="95"/>
                    <a:pt x="3480" y="0"/>
                    <a:pt x="3343" y="0"/>
                  </a:cubicBezTo>
                  <a:close/>
                  <a:moveTo>
                    <a:pt x="3343" y="381"/>
                  </a:moveTo>
                  <a:cubicBezTo>
                    <a:pt x="3334" y="381"/>
                    <a:pt x="3334" y="381"/>
                    <a:pt x="3334" y="381"/>
                  </a:cubicBezTo>
                  <a:cubicBezTo>
                    <a:pt x="3244" y="381"/>
                    <a:pt x="3188" y="320"/>
                    <a:pt x="3188" y="226"/>
                  </a:cubicBezTo>
                  <a:cubicBezTo>
                    <a:pt x="3188" y="133"/>
                    <a:pt x="3244" y="71"/>
                    <a:pt x="3334" y="71"/>
                  </a:cubicBezTo>
                  <a:cubicBezTo>
                    <a:pt x="3343" y="71"/>
                    <a:pt x="3343" y="71"/>
                    <a:pt x="3343" y="71"/>
                  </a:cubicBezTo>
                  <a:cubicBezTo>
                    <a:pt x="3432" y="71"/>
                    <a:pt x="3488" y="133"/>
                    <a:pt x="3488" y="226"/>
                  </a:cubicBezTo>
                  <a:cubicBezTo>
                    <a:pt x="3488" y="320"/>
                    <a:pt x="3432" y="381"/>
                    <a:pt x="3343" y="381"/>
                  </a:cubicBezTo>
                  <a:close/>
                  <a:moveTo>
                    <a:pt x="4107" y="436"/>
                  </a:moveTo>
                  <a:cubicBezTo>
                    <a:pt x="4040" y="358"/>
                    <a:pt x="3967" y="285"/>
                    <a:pt x="3890" y="220"/>
                  </a:cubicBezTo>
                  <a:cubicBezTo>
                    <a:pt x="3951" y="167"/>
                    <a:pt x="4018" y="100"/>
                    <a:pt x="4085" y="18"/>
                  </a:cubicBezTo>
                  <a:cubicBezTo>
                    <a:pt x="4086" y="16"/>
                    <a:pt x="4087" y="14"/>
                    <a:pt x="4087" y="13"/>
                  </a:cubicBezTo>
                  <a:cubicBezTo>
                    <a:pt x="4087" y="10"/>
                    <a:pt x="4085" y="9"/>
                    <a:pt x="4081" y="9"/>
                  </a:cubicBezTo>
                  <a:cubicBezTo>
                    <a:pt x="4005" y="9"/>
                    <a:pt x="4005" y="9"/>
                    <a:pt x="4005" y="9"/>
                  </a:cubicBezTo>
                  <a:cubicBezTo>
                    <a:pt x="4001" y="9"/>
                    <a:pt x="3999" y="9"/>
                    <a:pt x="3996" y="13"/>
                  </a:cubicBezTo>
                  <a:cubicBezTo>
                    <a:pt x="3950" y="73"/>
                    <a:pt x="3894" y="132"/>
                    <a:pt x="3833" y="186"/>
                  </a:cubicBezTo>
                  <a:cubicBezTo>
                    <a:pt x="3797" y="186"/>
                    <a:pt x="3797" y="186"/>
                    <a:pt x="3797" y="186"/>
                  </a:cubicBezTo>
                  <a:cubicBezTo>
                    <a:pt x="3797" y="15"/>
                    <a:pt x="3797" y="15"/>
                    <a:pt x="3797" y="15"/>
                  </a:cubicBezTo>
                  <a:cubicBezTo>
                    <a:pt x="3797" y="11"/>
                    <a:pt x="3794" y="9"/>
                    <a:pt x="3791" y="9"/>
                  </a:cubicBezTo>
                  <a:cubicBezTo>
                    <a:pt x="3729" y="9"/>
                    <a:pt x="3729" y="9"/>
                    <a:pt x="3729" y="9"/>
                  </a:cubicBezTo>
                  <a:cubicBezTo>
                    <a:pt x="3725" y="9"/>
                    <a:pt x="3723" y="11"/>
                    <a:pt x="3723" y="15"/>
                  </a:cubicBezTo>
                  <a:cubicBezTo>
                    <a:pt x="3723" y="438"/>
                    <a:pt x="3723" y="438"/>
                    <a:pt x="3723" y="438"/>
                  </a:cubicBezTo>
                  <a:cubicBezTo>
                    <a:pt x="3723" y="442"/>
                    <a:pt x="3725" y="444"/>
                    <a:pt x="3729" y="444"/>
                  </a:cubicBezTo>
                  <a:cubicBezTo>
                    <a:pt x="3791" y="444"/>
                    <a:pt x="3791" y="444"/>
                    <a:pt x="3791" y="444"/>
                  </a:cubicBezTo>
                  <a:cubicBezTo>
                    <a:pt x="3794" y="444"/>
                    <a:pt x="3797" y="442"/>
                    <a:pt x="3797" y="438"/>
                  </a:cubicBezTo>
                  <a:cubicBezTo>
                    <a:pt x="3797" y="258"/>
                    <a:pt x="3797" y="258"/>
                    <a:pt x="3797" y="258"/>
                  </a:cubicBezTo>
                  <a:cubicBezTo>
                    <a:pt x="3833" y="258"/>
                    <a:pt x="3833" y="258"/>
                    <a:pt x="3833" y="258"/>
                  </a:cubicBezTo>
                  <a:cubicBezTo>
                    <a:pt x="3889" y="307"/>
                    <a:pt x="3956" y="372"/>
                    <a:pt x="4012" y="439"/>
                  </a:cubicBezTo>
                  <a:cubicBezTo>
                    <a:pt x="4016" y="443"/>
                    <a:pt x="4018" y="444"/>
                    <a:pt x="4023" y="444"/>
                  </a:cubicBezTo>
                  <a:cubicBezTo>
                    <a:pt x="4104" y="444"/>
                    <a:pt x="4104" y="444"/>
                    <a:pt x="4104" y="444"/>
                  </a:cubicBezTo>
                  <a:cubicBezTo>
                    <a:pt x="4108" y="444"/>
                    <a:pt x="4110" y="440"/>
                    <a:pt x="4107" y="43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Mukta ExtraLight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50" name="Google Shape;50;p5"/>
            <p:cNvGrpSpPr/>
            <p:nvPr/>
          </p:nvGrpSpPr>
          <p:grpSpPr>
            <a:xfrm>
              <a:off x="11233914" y="6060934"/>
              <a:ext cx="250803" cy="83234"/>
              <a:chOff x="10972086" y="6060934"/>
              <a:chExt cx="250803" cy="83234"/>
            </a:xfrm>
          </p:grpSpPr>
          <p:sp>
            <p:nvSpPr>
              <p:cNvPr id="51" name="Google Shape;51;p5"/>
              <p:cNvSpPr/>
              <p:nvPr/>
            </p:nvSpPr>
            <p:spPr>
              <a:xfrm>
                <a:off x="10972086" y="6060934"/>
                <a:ext cx="36380" cy="82131"/>
              </a:xfrm>
              <a:custGeom>
                <a:avLst/>
                <a:gdLst/>
                <a:ahLst/>
                <a:cxnLst/>
                <a:rect l="l" t="t" r="r" b="b"/>
                <a:pathLst>
                  <a:path w="194" h="437" extrusionOk="0">
                    <a:moveTo>
                      <a:pt x="116" y="56"/>
                    </a:moveTo>
                    <a:cubicBezTo>
                      <a:pt x="106" y="66"/>
                      <a:pt x="101" y="81"/>
                      <a:pt x="101" y="102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94" y="143"/>
                      <a:pt x="194" y="143"/>
                      <a:pt x="194" y="143"/>
                    </a:cubicBezTo>
                    <a:cubicBezTo>
                      <a:pt x="194" y="182"/>
                      <a:pt x="194" y="182"/>
                      <a:pt x="194" y="182"/>
                    </a:cubicBezTo>
                    <a:cubicBezTo>
                      <a:pt x="101" y="182"/>
                      <a:pt x="101" y="182"/>
                      <a:pt x="101" y="182"/>
                    </a:cubicBezTo>
                    <a:cubicBezTo>
                      <a:pt x="101" y="437"/>
                      <a:pt x="101" y="437"/>
                      <a:pt x="101" y="437"/>
                    </a:cubicBezTo>
                    <a:cubicBezTo>
                      <a:pt x="56" y="437"/>
                      <a:pt x="56" y="437"/>
                      <a:pt x="56" y="437"/>
                    </a:cubicBezTo>
                    <a:cubicBezTo>
                      <a:pt x="56" y="182"/>
                      <a:pt x="56" y="182"/>
                      <a:pt x="56" y="182"/>
                    </a:cubicBezTo>
                    <a:cubicBezTo>
                      <a:pt x="0" y="182"/>
                      <a:pt x="0" y="182"/>
                      <a:pt x="0" y="182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56" y="143"/>
                      <a:pt x="56" y="143"/>
                      <a:pt x="56" y="143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6" y="83"/>
                      <a:pt x="60" y="64"/>
                      <a:pt x="67" y="48"/>
                    </a:cubicBezTo>
                    <a:cubicBezTo>
                      <a:pt x="75" y="32"/>
                      <a:pt x="86" y="20"/>
                      <a:pt x="100" y="12"/>
                    </a:cubicBezTo>
                    <a:cubicBezTo>
                      <a:pt x="115" y="4"/>
                      <a:pt x="131" y="0"/>
                      <a:pt x="150" y="0"/>
                    </a:cubicBezTo>
                    <a:cubicBezTo>
                      <a:pt x="165" y="0"/>
                      <a:pt x="180" y="2"/>
                      <a:pt x="194" y="5"/>
                    </a:cubicBezTo>
                    <a:cubicBezTo>
                      <a:pt x="194" y="45"/>
                      <a:pt x="194" y="45"/>
                      <a:pt x="194" y="45"/>
                    </a:cubicBezTo>
                    <a:cubicBezTo>
                      <a:pt x="185" y="44"/>
                      <a:pt x="178" y="43"/>
                      <a:pt x="173" y="42"/>
                    </a:cubicBezTo>
                    <a:cubicBezTo>
                      <a:pt x="168" y="41"/>
                      <a:pt x="162" y="41"/>
                      <a:pt x="155" y="41"/>
                    </a:cubicBezTo>
                    <a:cubicBezTo>
                      <a:pt x="139" y="41"/>
                      <a:pt x="126" y="46"/>
                      <a:pt x="116" y="56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52;p5"/>
              <p:cNvSpPr/>
              <p:nvPr/>
            </p:nvSpPr>
            <p:spPr>
              <a:xfrm>
                <a:off x="11023900" y="6086290"/>
                <a:ext cx="28663" cy="56775"/>
              </a:xfrm>
              <a:custGeom>
                <a:avLst/>
                <a:gdLst/>
                <a:ahLst/>
                <a:cxnLst/>
                <a:rect l="l" t="t" r="r" b="b"/>
                <a:pathLst>
                  <a:path w="156" h="300" extrusionOk="0">
                    <a:moveTo>
                      <a:pt x="156" y="3"/>
                    </a:moveTo>
                    <a:cubicBezTo>
                      <a:pt x="156" y="49"/>
                      <a:pt x="156" y="49"/>
                      <a:pt x="156" y="49"/>
                    </a:cubicBezTo>
                    <a:cubicBezTo>
                      <a:pt x="146" y="48"/>
                      <a:pt x="136" y="47"/>
                      <a:pt x="126" y="47"/>
                    </a:cubicBezTo>
                    <a:cubicBezTo>
                      <a:pt x="105" y="47"/>
                      <a:pt x="88" y="53"/>
                      <a:pt x="75" y="66"/>
                    </a:cubicBezTo>
                    <a:cubicBezTo>
                      <a:pt x="62" y="78"/>
                      <a:pt x="52" y="96"/>
                      <a:pt x="46" y="119"/>
                    </a:cubicBezTo>
                    <a:cubicBezTo>
                      <a:pt x="46" y="300"/>
                      <a:pt x="46" y="300"/>
                      <a:pt x="46" y="300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55" y="39"/>
                      <a:pt x="67" y="25"/>
                      <a:pt x="81" y="15"/>
                    </a:cubicBezTo>
                    <a:cubicBezTo>
                      <a:pt x="95" y="5"/>
                      <a:pt x="112" y="0"/>
                      <a:pt x="130" y="0"/>
                    </a:cubicBezTo>
                    <a:cubicBezTo>
                      <a:pt x="140" y="0"/>
                      <a:pt x="149" y="1"/>
                      <a:pt x="156" y="3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53;p5"/>
              <p:cNvSpPr/>
              <p:nvPr/>
            </p:nvSpPr>
            <p:spPr>
              <a:xfrm>
                <a:off x="11065241" y="6086290"/>
                <a:ext cx="54570" cy="57878"/>
              </a:xfrm>
              <a:custGeom>
                <a:avLst/>
                <a:gdLst/>
                <a:ahLst/>
                <a:cxnLst/>
                <a:rect l="l" t="t" r="r" b="b"/>
                <a:pathLst>
                  <a:path w="292" h="308" extrusionOk="0">
                    <a:moveTo>
                      <a:pt x="68" y="289"/>
                    </a:moveTo>
                    <a:cubicBezTo>
                      <a:pt x="46" y="275"/>
                      <a:pt x="30" y="257"/>
                      <a:pt x="18" y="234"/>
                    </a:cubicBezTo>
                    <a:cubicBezTo>
                      <a:pt x="6" y="211"/>
                      <a:pt x="0" y="184"/>
                      <a:pt x="0" y="154"/>
                    </a:cubicBezTo>
                    <a:cubicBezTo>
                      <a:pt x="0" y="124"/>
                      <a:pt x="6" y="98"/>
                      <a:pt x="18" y="75"/>
                    </a:cubicBezTo>
                    <a:cubicBezTo>
                      <a:pt x="30" y="51"/>
                      <a:pt x="46" y="33"/>
                      <a:pt x="68" y="20"/>
                    </a:cubicBezTo>
                    <a:cubicBezTo>
                      <a:pt x="89" y="7"/>
                      <a:pt x="114" y="0"/>
                      <a:pt x="143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78" y="0"/>
                      <a:pt x="203" y="7"/>
                      <a:pt x="225" y="20"/>
                    </a:cubicBezTo>
                    <a:cubicBezTo>
                      <a:pt x="246" y="33"/>
                      <a:pt x="263" y="51"/>
                      <a:pt x="274" y="75"/>
                    </a:cubicBezTo>
                    <a:cubicBezTo>
                      <a:pt x="286" y="98"/>
                      <a:pt x="292" y="124"/>
                      <a:pt x="292" y="154"/>
                    </a:cubicBezTo>
                    <a:cubicBezTo>
                      <a:pt x="292" y="184"/>
                      <a:pt x="286" y="211"/>
                      <a:pt x="274" y="234"/>
                    </a:cubicBezTo>
                    <a:cubicBezTo>
                      <a:pt x="263" y="257"/>
                      <a:pt x="246" y="275"/>
                      <a:pt x="225" y="289"/>
                    </a:cubicBezTo>
                    <a:cubicBezTo>
                      <a:pt x="203" y="302"/>
                      <a:pt x="178" y="308"/>
                      <a:pt x="149" y="308"/>
                    </a:cubicBezTo>
                    <a:cubicBezTo>
                      <a:pt x="143" y="308"/>
                      <a:pt x="143" y="308"/>
                      <a:pt x="143" y="308"/>
                    </a:cubicBezTo>
                    <a:cubicBezTo>
                      <a:pt x="114" y="308"/>
                      <a:pt x="89" y="302"/>
                      <a:pt x="68" y="289"/>
                    </a:cubicBezTo>
                    <a:close/>
                    <a:moveTo>
                      <a:pt x="149" y="265"/>
                    </a:moveTo>
                    <a:cubicBezTo>
                      <a:pt x="168" y="265"/>
                      <a:pt x="185" y="261"/>
                      <a:pt x="199" y="252"/>
                    </a:cubicBezTo>
                    <a:cubicBezTo>
                      <a:pt x="214" y="242"/>
                      <a:pt x="225" y="230"/>
                      <a:pt x="233" y="213"/>
                    </a:cubicBezTo>
                    <a:cubicBezTo>
                      <a:pt x="240" y="196"/>
                      <a:pt x="244" y="176"/>
                      <a:pt x="244" y="154"/>
                    </a:cubicBezTo>
                    <a:cubicBezTo>
                      <a:pt x="244" y="132"/>
                      <a:pt x="240" y="113"/>
                      <a:pt x="233" y="96"/>
                    </a:cubicBezTo>
                    <a:cubicBezTo>
                      <a:pt x="225" y="79"/>
                      <a:pt x="214" y="66"/>
                      <a:pt x="199" y="57"/>
                    </a:cubicBezTo>
                    <a:cubicBezTo>
                      <a:pt x="185" y="48"/>
                      <a:pt x="168" y="43"/>
                      <a:pt x="149" y="43"/>
                    </a:cubicBezTo>
                    <a:cubicBezTo>
                      <a:pt x="143" y="43"/>
                      <a:pt x="143" y="43"/>
                      <a:pt x="143" y="43"/>
                    </a:cubicBezTo>
                    <a:cubicBezTo>
                      <a:pt x="124" y="43"/>
                      <a:pt x="107" y="48"/>
                      <a:pt x="93" y="57"/>
                    </a:cubicBezTo>
                    <a:cubicBezTo>
                      <a:pt x="78" y="66"/>
                      <a:pt x="67" y="79"/>
                      <a:pt x="60" y="96"/>
                    </a:cubicBezTo>
                    <a:cubicBezTo>
                      <a:pt x="52" y="113"/>
                      <a:pt x="48" y="132"/>
                      <a:pt x="48" y="154"/>
                    </a:cubicBezTo>
                    <a:cubicBezTo>
                      <a:pt x="48" y="176"/>
                      <a:pt x="52" y="196"/>
                      <a:pt x="60" y="213"/>
                    </a:cubicBezTo>
                    <a:cubicBezTo>
                      <a:pt x="67" y="230"/>
                      <a:pt x="78" y="242"/>
                      <a:pt x="93" y="252"/>
                    </a:cubicBezTo>
                    <a:cubicBezTo>
                      <a:pt x="107" y="261"/>
                      <a:pt x="124" y="265"/>
                      <a:pt x="143" y="265"/>
                    </a:cubicBezTo>
                    <a:lnTo>
                      <a:pt x="149" y="265"/>
                    </a:ln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54;p5"/>
              <p:cNvSpPr/>
              <p:nvPr/>
            </p:nvSpPr>
            <p:spPr>
              <a:xfrm>
                <a:off x="11138002" y="6086290"/>
                <a:ext cx="84887" cy="56775"/>
              </a:xfrm>
              <a:custGeom>
                <a:avLst/>
                <a:gdLst/>
                <a:ahLst/>
                <a:cxnLst/>
                <a:rect l="l" t="t" r="r" b="b"/>
                <a:pathLst>
                  <a:path w="457" h="301" extrusionOk="0">
                    <a:moveTo>
                      <a:pt x="431" y="34"/>
                    </a:moveTo>
                    <a:cubicBezTo>
                      <a:pt x="448" y="56"/>
                      <a:pt x="457" y="88"/>
                      <a:pt x="457" y="131"/>
                    </a:cubicBezTo>
                    <a:cubicBezTo>
                      <a:pt x="457" y="301"/>
                      <a:pt x="457" y="301"/>
                      <a:pt x="457" y="301"/>
                    </a:cubicBezTo>
                    <a:cubicBezTo>
                      <a:pt x="411" y="301"/>
                      <a:pt x="411" y="301"/>
                      <a:pt x="411" y="301"/>
                    </a:cubicBezTo>
                    <a:cubicBezTo>
                      <a:pt x="411" y="136"/>
                      <a:pt x="411" y="136"/>
                      <a:pt x="411" y="136"/>
                    </a:cubicBezTo>
                    <a:cubicBezTo>
                      <a:pt x="411" y="105"/>
                      <a:pt x="406" y="82"/>
                      <a:pt x="395" y="66"/>
                    </a:cubicBezTo>
                    <a:cubicBezTo>
                      <a:pt x="384" y="51"/>
                      <a:pt x="367" y="43"/>
                      <a:pt x="345" y="43"/>
                    </a:cubicBezTo>
                    <a:cubicBezTo>
                      <a:pt x="340" y="43"/>
                      <a:pt x="340" y="43"/>
                      <a:pt x="340" y="43"/>
                    </a:cubicBezTo>
                    <a:cubicBezTo>
                      <a:pt x="318" y="43"/>
                      <a:pt x="300" y="50"/>
                      <a:pt x="285" y="64"/>
                    </a:cubicBezTo>
                    <a:cubicBezTo>
                      <a:pt x="270" y="77"/>
                      <a:pt x="258" y="95"/>
                      <a:pt x="251" y="118"/>
                    </a:cubicBezTo>
                    <a:cubicBezTo>
                      <a:pt x="251" y="121"/>
                      <a:pt x="252" y="125"/>
                      <a:pt x="252" y="131"/>
                    </a:cubicBezTo>
                    <a:cubicBezTo>
                      <a:pt x="252" y="301"/>
                      <a:pt x="252" y="301"/>
                      <a:pt x="252" y="301"/>
                    </a:cubicBezTo>
                    <a:cubicBezTo>
                      <a:pt x="206" y="301"/>
                      <a:pt x="206" y="301"/>
                      <a:pt x="206" y="301"/>
                    </a:cubicBezTo>
                    <a:cubicBezTo>
                      <a:pt x="206" y="136"/>
                      <a:pt x="206" y="136"/>
                      <a:pt x="206" y="136"/>
                    </a:cubicBezTo>
                    <a:cubicBezTo>
                      <a:pt x="206" y="105"/>
                      <a:pt x="200" y="82"/>
                      <a:pt x="190" y="66"/>
                    </a:cubicBezTo>
                    <a:cubicBezTo>
                      <a:pt x="179" y="51"/>
                      <a:pt x="162" y="43"/>
                      <a:pt x="139" y="43"/>
                    </a:cubicBezTo>
                    <a:cubicBezTo>
                      <a:pt x="134" y="43"/>
                      <a:pt x="134" y="43"/>
                      <a:pt x="134" y="43"/>
                    </a:cubicBezTo>
                    <a:cubicBezTo>
                      <a:pt x="113" y="43"/>
                      <a:pt x="95" y="50"/>
                      <a:pt x="80" y="64"/>
                    </a:cubicBezTo>
                    <a:cubicBezTo>
                      <a:pt x="64" y="77"/>
                      <a:pt x="53" y="95"/>
                      <a:pt x="46" y="118"/>
                    </a:cubicBezTo>
                    <a:cubicBezTo>
                      <a:pt x="46" y="301"/>
                      <a:pt x="46" y="301"/>
                      <a:pt x="46" y="301"/>
                    </a:cubicBezTo>
                    <a:cubicBezTo>
                      <a:pt x="0" y="301"/>
                      <a:pt x="0" y="301"/>
                      <a:pt x="0" y="30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46" y="8"/>
                      <a:pt x="46" y="8"/>
                      <a:pt x="46" y="8"/>
                    </a:cubicBezTo>
                    <a:cubicBezTo>
                      <a:pt x="46" y="63"/>
                      <a:pt x="46" y="63"/>
                      <a:pt x="46" y="63"/>
                    </a:cubicBezTo>
                    <a:cubicBezTo>
                      <a:pt x="57" y="44"/>
                      <a:pt x="71" y="28"/>
                      <a:pt x="87" y="17"/>
                    </a:cubicBezTo>
                    <a:cubicBezTo>
                      <a:pt x="104" y="6"/>
                      <a:pt x="123" y="0"/>
                      <a:pt x="145" y="0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75" y="0"/>
                      <a:pt x="195" y="7"/>
                      <a:pt x="211" y="19"/>
                    </a:cubicBezTo>
                    <a:cubicBezTo>
                      <a:pt x="226" y="31"/>
                      <a:pt x="237" y="48"/>
                      <a:pt x="244" y="72"/>
                    </a:cubicBezTo>
                    <a:cubicBezTo>
                      <a:pt x="255" y="49"/>
                      <a:pt x="270" y="32"/>
                      <a:pt x="288" y="19"/>
                    </a:cubicBezTo>
                    <a:cubicBezTo>
                      <a:pt x="306" y="7"/>
                      <a:pt x="327" y="0"/>
                      <a:pt x="350" y="0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389" y="0"/>
                      <a:pt x="414" y="12"/>
                      <a:pt x="431" y="34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55" name="Google Shape;55;p5"/>
          <p:cNvSpPr/>
          <p:nvPr/>
        </p:nvSpPr>
        <p:spPr>
          <a:xfrm>
            <a:off x="727142" y="581271"/>
            <a:ext cx="1710383" cy="413964"/>
          </a:xfrm>
          <a:custGeom>
            <a:avLst/>
            <a:gdLst/>
            <a:ahLst/>
            <a:cxnLst/>
            <a:rect l="l" t="t" r="r" b="b"/>
            <a:pathLst>
              <a:path w="9164" h="2200" extrusionOk="0">
                <a:moveTo>
                  <a:pt x="8512" y="1083"/>
                </a:moveTo>
                <a:cubicBezTo>
                  <a:pt x="8512" y="1060"/>
                  <a:pt x="8517" y="1038"/>
                  <a:pt x="8527" y="1016"/>
                </a:cubicBezTo>
                <a:cubicBezTo>
                  <a:pt x="8537" y="994"/>
                  <a:pt x="8551" y="973"/>
                  <a:pt x="8570" y="956"/>
                </a:cubicBezTo>
                <a:cubicBezTo>
                  <a:pt x="8589" y="938"/>
                  <a:pt x="8612" y="923"/>
                  <a:pt x="8640" y="911"/>
                </a:cubicBezTo>
                <a:cubicBezTo>
                  <a:pt x="8668" y="899"/>
                  <a:pt x="8700" y="893"/>
                  <a:pt x="8736" y="893"/>
                </a:cubicBezTo>
                <a:cubicBezTo>
                  <a:pt x="8769" y="893"/>
                  <a:pt x="8799" y="899"/>
                  <a:pt x="8825" y="911"/>
                </a:cubicBezTo>
                <a:cubicBezTo>
                  <a:pt x="8851" y="923"/>
                  <a:pt x="8872" y="938"/>
                  <a:pt x="8889" y="956"/>
                </a:cubicBezTo>
                <a:cubicBezTo>
                  <a:pt x="8906" y="974"/>
                  <a:pt x="8918" y="994"/>
                  <a:pt x="8927" y="1016"/>
                </a:cubicBezTo>
                <a:cubicBezTo>
                  <a:pt x="8936" y="1038"/>
                  <a:pt x="8940" y="1060"/>
                  <a:pt x="8940" y="1083"/>
                </a:cubicBezTo>
                <a:cubicBezTo>
                  <a:pt x="8512" y="1083"/>
                  <a:pt x="8512" y="1083"/>
                  <a:pt x="8512" y="1083"/>
                </a:cubicBezTo>
                <a:close/>
                <a:moveTo>
                  <a:pt x="9035" y="1351"/>
                </a:moveTo>
                <a:cubicBezTo>
                  <a:pt x="9027" y="1358"/>
                  <a:pt x="9017" y="1368"/>
                  <a:pt x="9002" y="1379"/>
                </a:cubicBezTo>
                <a:cubicBezTo>
                  <a:pt x="8988" y="1391"/>
                  <a:pt x="8970" y="1402"/>
                  <a:pt x="8948" y="1413"/>
                </a:cubicBezTo>
                <a:cubicBezTo>
                  <a:pt x="8925" y="1423"/>
                  <a:pt x="8898" y="1433"/>
                  <a:pt x="8867" y="1441"/>
                </a:cubicBezTo>
                <a:cubicBezTo>
                  <a:pt x="8835" y="1449"/>
                  <a:pt x="8798" y="1453"/>
                  <a:pt x="8756" y="1453"/>
                </a:cubicBezTo>
                <a:cubicBezTo>
                  <a:pt x="8727" y="1453"/>
                  <a:pt x="8699" y="1448"/>
                  <a:pt x="8670" y="1438"/>
                </a:cubicBezTo>
                <a:cubicBezTo>
                  <a:pt x="8640" y="1428"/>
                  <a:pt x="8614" y="1414"/>
                  <a:pt x="8591" y="1395"/>
                </a:cubicBezTo>
                <a:cubicBezTo>
                  <a:pt x="8569" y="1377"/>
                  <a:pt x="8550" y="1354"/>
                  <a:pt x="8536" y="1328"/>
                </a:cubicBezTo>
                <a:cubicBezTo>
                  <a:pt x="8521" y="1302"/>
                  <a:pt x="8514" y="1275"/>
                  <a:pt x="8514" y="1241"/>
                </a:cubicBezTo>
                <a:cubicBezTo>
                  <a:pt x="9164" y="1241"/>
                  <a:pt x="9164" y="1241"/>
                  <a:pt x="9164" y="1241"/>
                </a:cubicBezTo>
                <a:cubicBezTo>
                  <a:pt x="9164" y="1209"/>
                  <a:pt x="9164" y="1209"/>
                  <a:pt x="9164" y="1209"/>
                </a:cubicBezTo>
                <a:cubicBezTo>
                  <a:pt x="9164" y="1147"/>
                  <a:pt x="9157" y="1087"/>
                  <a:pt x="9142" y="1027"/>
                </a:cubicBezTo>
                <a:cubicBezTo>
                  <a:pt x="9128" y="968"/>
                  <a:pt x="9104" y="914"/>
                  <a:pt x="9070" y="867"/>
                </a:cubicBezTo>
                <a:cubicBezTo>
                  <a:pt x="9037" y="820"/>
                  <a:pt x="8992" y="782"/>
                  <a:pt x="8937" y="753"/>
                </a:cubicBezTo>
                <a:cubicBezTo>
                  <a:pt x="8882" y="724"/>
                  <a:pt x="8815" y="709"/>
                  <a:pt x="8736" y="709"/>
                </a:cubicBezTo>
                <a:cubicBezTo>
                  <a:pt x="8670" y="709"/>
                  <a:pt x="8610" y="721"/>
                  <a:pt x="8556" y="745"/>
                </a:cubicBezTo>
                <a:cubicBezTo>
                  <a:pt x="8502" y="768"/>
                  <a:pt x="8456" y="800"/>
                  <a:pt x="8417" y="841"/>
                </a:cubicBezTo>
                <a:cubicBezTo>
                  <a:pt x="8378" y="882"/>
                  <a:pt x="8347" y="930"/>
                  <a:pt x="8326" y="985"/>
                </a:cubicBezTo>
                <a:cubicBezTo>
                  <a:pt x="8304" y="1040"/>
                  <a:pt x="8293" y="1100"/>
                  <a:pt x="8293" y="1165"/>
                </a:cubicBezTo>
                <a:cubicBezTo>
                  <a:pt x="8293" y="1235"/>
                  <a:pt x="8304" y="1300"/>
                  <a:pt x="8326" y="1358"/>
                </a:cubicBezTo>
                <a:cubicBezTo>
                  <a:pt x="8347" y="1416"/>
                  <a:pt x="8378" y="1466"/>
                  <a:pt x="8419" y="1508"/>
                </a:cubicBezTo>
                <a:cubicBezTo>
                  <a:pt x="8459" y="1549"/>
                  <a:pt x="8507" y="1582"/>
                  <a:pt x="8565" y="1605"/>
                </a:cubicBezTo>
                <a:cubicBezTo>
                  <a:pt x="8622" y="1629"/>
                  <a:pt x="8685" y="1641"/>
                  <a:pt x="8754" y="1641"/>
                </a:cubicBezTo>
                <a:cubicBezTo>
                  <a:pt x="8822" y="1641"/>
                  <a:pt x="8881" y="1633"/>
                  <a:pt x="8930" y="1618"/>
                </a:cubicBezTo>
                <a:cubicBezTo>
                  <a:pt x="8979" y="1603"/>
                  <a:pt x="9019" y="1587"/>
                  <a:pt x="9051" y="1568"/>
                </a:cubicBezTo>
                <a:cubicBezTo>
                  <a:pt x="9082" y="1550"/>
                  <a:pt x="9106" y="1532"/>
                  <a:pt x="9123" y="1515"/>
                </a:cubicBezTo>
                <a:cubicBezTo>
                  <a:pt x="9140" y="1498"/>
                  <a:pt x="9150" y="1488"/>
                  <a:pt x="9154" y="1484"/>
                </a:cubicBezTo>
                <a:cubicBezTo>
                  <a:pt x="9035" y="1351"/>
                  <a:pt x="9035" y="1351"/>
                  <a:pt x="9035" y="1351"/>
                </a:cubicBezTo>
                <a:close/>
                <a:moveTo>
                  <a:pt x="8065" y="1354"/>
                </a:moveTo>
                <a:cubicBezTo>
                  <a:pt x="8040" y="1383"/>
                  <a:pt x="8009" y="1405"/>
                  <a:pt x="7973" y="1422"/>
                </a:cubicBezTo>
                <a:cubicBezTo>
                  <a:pt x="7937" y="1439"/>
                  <a:pt x="7898" y="1447"/>
                  <a:pt x="7854" y="1447"/>
                </a:cubicBezTo>
                <a:cubicBezTo>
                  <a:pt x="7812" y="1447"/>
                  <a:pt x="7776" y="1439"/>
                  <a:pt x="7745" y="1423"/>
                </a:cubicBezTo>
                <a:cubicBezTo>
                  <a:pt x="7714" y="1407"/>
                  <a:pt x="7688" y="1386"/>
                  <a:pt x="7668" y="1360"/>
                </a:cubicBezTo>
                <a:cubicBezTo>
                  <a:pt x="7647" y="1334"/>
                  <a:pt x="7632" y="1305"/>
                  <a:pt x="7622" y="1273"/>
                </a:cubicBezTo>
                <a:cubicBezTo>
                  <a:pt x="7612" y="1240"/>
                  <a:pt x="7607" y="1207"/>
                  <a:pt x="7607" y="1174"/>
                </a:cubicBezTo>
                <a:cubicBezTo>
                  <a:pt x="7607" y="1139"/>
                  <a:pt x="7612" y="1105"/>
                  <a:pt x="7622" y="1072"/>
                </a:cubicBezTo>
                <a:cubicBezTo>
                  <a:pt x="7632" y="1038"/>
                  <a:pt x="7647" y="1009"/>
                  <a:pt x="7668" y="984"/>
                </a:cubicBezTo>
                <a:cubicBezTo>
                  <a:pt x="7688" y="960"/>
                  <a:pt x="7714" y="939"/>
                  <a:pt x="7745" y="924"/>
                </a:cubicBezTo>
                <a:cubicBezTo>
                  <a:pt x="7776" y="908"/>
                  <a:pt x="7812" y="901"/>
                  <a:pt x="7854" y="901"/>
                </a:cubicBezTo>
                <a:cubicBezTo>
                  <a:pt x="7898" y="901"/>
                  <a:pt x="7936" y="909"/>
                  <a:pt x="7970" y="925"/>
                </a:cubicBezTo>
                <a:cubicBezTo>
                  <a:pt x="8003" y="941"/>
                  <a:pt x="8032" y="963"/>
                  <a:pt x="8057" y="992"/>
                </a:cubicBezTo>
                <a:cubicBezTo>
                  <a:pt x="8197" y="850"/>
                  <a:pt x="8197" y="850"/>
                  <a:pt x="8197" y="850"/>
                </a:cubicBezTo>
                <a:cubicBezTo>
                  <a:pt x="8156" y="807"/>
                  <a:pt x="8106" y="773"/>
                  <a:pt x="8048" y="747"/>
                </a:cubicBezTo>
                <a:cubicBezTo>
                  <a:pt x="7990" y="722"/>
                  <a:pt x="7925" y="709"/>
                  <a:pt x="7854" y="709"/>
                </a:cubicBezTo>
                <a:cubicBezTo>
                  <a:pt x="7785" y="709"/>
                  <a:pt x="7722" y="722"/>
                  <a:pt x="7664" y="746"/>
                </a:cubicBezTo>
                <a:cubicBezTo>
                  <a:pt x="7606" y="771"/>
                  <a:pt x="7557" y="805"/>
                  <a:pt x="7516" y="847"/>
                </a:cubicBezTo>
                <a:cubicBezTo>
                  <a:pt x="7475" y="889"/>
                  <a:pt x="7443" y="938"/>
                  <a:pt x="7420" y="995"/>
                </a:cubicBezTo>
                <a:cubicBezTo>
                  <a:pt x="7397" y="1051"/>
                  <a:pt x="7386" y="1111"/>
                  <a:pt x="7386" y="1174"/>
                </a:cubicBezTo>
                <a:cubicBezTo>
                  <a:pt x="7386" y="1243"/>
                  <a:pt x="7396" y="1307"/>
                  <a:pt x="7418" y="1364"/>
                </a:cubicBezTo>
                <a:cubicBezTo>
                  <a:pt x="7439" y="1421"/>
                  <a:pt x="7469" y="1470"/>
                  <a:pt x="7509" y="1511"/>
                </a:cubicBezTo>
                <a:cubicBezTo>
                  <a:pt x="7548" y="1551"/>
                  <a:pt x="7597" y="1583"/>
                  <a:pt x="7656" y="1605"/>
                </a:cubicBezTo>
                <a:cubicBezTo>
                  <a:pt x="7714" y="1628"/>
                  <a:pt x="7780" y="1639"/>
                  <a:pt x="7854" y="1639"/>
                </a:cubicBezTo>
                <a:cubicBezTo>
                  <a:pt x="7929" y="1639"/>
                  <a:pt x="7994" y="1626"/>
                  <a:pt x="8050" y="1600"/>
                </a:cubicBezTo>
                <a:cubicBezTo>
                  <a:pt x="8105" y="1574"/>
                  <a:pt x="8154" y="1539"/>
                  <a:pt x="8195" y="1496"/>
                </a:cubicBezTo>
                <a:cubicBezTo>
                  <a:pt x="8065" y="1354"/>
                  <a:pt x="8065" y="1354"/>
                  <a:pt x="8065" y="1354"/>
                </a:cubicBezTo>
                <a:close/>
                <a:moveTo>
                  <a:pt x="7005" y="1302"/>
                </a:moveTo>
                <a:cubicBezTo>
                  <a:pt x="7005" y="1325"/>
                  <a:pt x="6999" y="1346"/>
                  <a:pt x="6987" y="1366"/>
                </a:cubicBezTo>
                <a:cubicBezTo>
                  <a:pt x="6976" y="1385"/>
                  <a:pt x="6960" y="1403"/>
                  <a:pt x="6942" y="1418"/>
                </a:cubicBezTo>
                <a:cubicBezTo>
                  <a:pt x="6923" y="1432"/>
                  <a:pt x="6902" y="1444"/>
                  <a:pt x="6877" y="1453"/>
                </a:cubicBezTo>
                <a:cubicBezTo>
                  <a:pt x="6853" y="1462"/>
                  <a:pt x="6828" y="1466"/>
                  <a:pt x="6802" y="1466"/>
                </a:cubicBezTo>
                <a:cubicBezTo>
                  <a:pt x="6750" y="1466"/>
                  <a:pt x="6711" y="1455"/>
                  <a:pt x="6684" y="1434"/>
                </a:cubicBezTo>
                <a:cubicBezTo>
                  <a:pt x="6657" y="1413"/>
                  <a:pt x="6644" y="1384"/>
                  <a:pt x="6644" y="1347"/>
                </a:cubicBezTo>
                <a:cubicBezTo>
                  <a:pt x="6644" y="1311"/>
                  <a:pt x="6658" y="1279"/>
                  <a:pt x="6687" y="1251"/>
                </a:cubicBezTo>
                <a:cubicBezTo>
                  <a:pt x="6715" y="1223"/>
                  <a:pt x="6765" y="1209"/>
                  <a:pt x="6836" y="1209"/>
                </a:cubicBezTo>
                <a:cubicBezTo>
                  <a:pt x="6849" y="1209"/>
                  <a:pt x="6866" y="1210"/>
                  <a:pt x="6885" y="1210"/>
                </a:cubicBezTo>
                <a:cubicBezTo>
                  <a:pt x="6904" y="1211"/>
                  <a:pt x="6923" y="1212"/>
                  <a:pt x="6940" y="1213"/>
                </a:cubicBezTo>
                <a:cubicBezTo>
                  <a:pt x="6961" y="1214"/>
                  <a:pt x="6983" y="1216"/>
                  <a:pt x="7005" y="1217"/>
                </a:cubicBezTo>
                <a:cubicBezTo>
                  <a:pt x="7005" y="1302"/>
                  <a:pt x="7005" y="1302"/>
                  <a:pt x="7005" y="1302"/>
                </a:cubicBezTo>
                <a:close/>
                <a:moveTo>
                  <a:pt x="7010" y="1610"/>
                </a:moveTo>
                <a:cubicBezTo>
                  <a:pt x="7214" y="1610"/>
                  <a:pt x="7214" y="1610"/>
                  <a:pt x="7214" y="1610"/>
                </a:cubicBezTo>
                <a:cubicBezTo>
                  <a:pt x="7214" y="1025"/>
                  <a:pt x="7214" y="1025"/>
                  <a:pt x="7214" y="1025"/>
                </a:cubicBezTo>
                <a:cubicBezTo>
                  <a:pt x="7214" y="979"/>
                  <a:pt x="7206" y="937"/>
                  <a:pt x="7188" y="898"/>
                </a:cubicBezTo>
                <a:cubicBezTo>
                  <a:pt x="7171" y="859"/>
                  <a:pt x="7146" y="825"/>
                  <a:pt x="7114" y="797"/>
                </a:cubicBezTo>
                <a:cubicBezTo>
                  <a:pt x="7082" y="770"/>
                  <a:pt x="7043" y="748"/>
                  <a:pt x="6998" y="732"/>
                </a:cubicBezTo>
                <a:cubicBezTo>
                  <a:pt x="6953" y="717"/>
                  <a:pt x="6902" y="709"/>
                  <a:pt x="6847" y="709"/>
                </a:cubicBezTo>
                <a:cubicBezTo>
                  <a:pt x="6795" y="709"/>
                  <a:pt x="6749" y="713"/>
                  <a:pt x="6710" y="719"/>
                </a:cubicBezTo>
                <a:cubicBezTo>
                  <a:pt x="6671" y="726"/>
                  <a:pt x="6637" y="735"/>
                  <a:pt x="6607" y="745"/>
                </a:cubicBezTo>
                <a:cubicBezTo>
                  <a:pt x="6577" y="756"/>
                  <a:pt x="6551" y="768"/>
                  <a:pt x="6529" y="781"/>
                </a:cubicBezTo>
                <a:cubicBezTo>
                  <a:pt x="6507" y="794"/>
                  <a:pt x="6487" y="807"/>
                  <a:pt x="6469" y="819"/>
                </a:cubicBezTo>
                <a:cubicBezTo>
                  <a:pt x="6570" y="968"/>
                  <a:pt x="6570" y="968"/>
                  <a:pt x="6570" y="968"/>
                </a:cubicBezTo>
                <a:cubicBezTo>
                  <a:pt x="6598" y="949"/>
                  <a:pt x="6631" y="932"/>
                  <a:pt x="6668" y="916"/>
                </a:cubicBezTo>
                <a:cubicBezTo>
                  <a:pt x="6705" y="899"/>
                  <a:pt x="6755" y="891"/>
                  <a:pt x="6817" y="891"/>
                </a:cubicBezTo>
                <a:cubicBezTo>
                  <a:pt x="6873" y="891"/>
                  <a:pt x="6918" y="904"/>
                  <a:pt x="6953" y="929"/>
                </a:cubicBezTo>
                <a:cubicBezTo>
                  <a:pt x="6988" y="953"/>
                  <a:pt x="7005" y="987"/>
                  <a:pt x="7005" y="1031"/>
                </a:cubicBezTo>
                <a:cubicBezTo>
                  <a:pt x="7005" y="1051"/>
                  <a:pt x="7005" y="1051"/>
                  <a:pt x="7005" y="1051"/>
                </a:cubicBezTo>
                <a:cubicBezTo>
                  <a:pt x="6983" y="1050"/>
                  <a:pt x="6958" y="1049"/>
                  <a:pt x="6936" y="1048"/>
                </a:cubicBezTo>
                <a:cubicBezTo>
                  <a:pt x="6916" y="1046"/>
                  <a:pt x="6896" y="1045"/>
                  <a:pt x="6875" y="1045"/>
                </a:cubicBezTo>
                <a:cubicBezTo>
                  <a:pt x="6854" y="1044"/>
                  <a:pt x="6834" y="1044"/>
                  <a:pt x="6817" y="1044"/>
                </a:cubicBezTo>
                <a:cubicBezTo>
                  <a:pt x="6760" y="1044"/>
                  <a:pt x="6708" y="1051"/>
                  <a:pt x="6661" y="1064"/>
                </a:cubicBezTo>
                <a:cubicBezTo>
                  <a:pt x="6614" y="1078"/>
                  <a:pt x="6573" y="1098"/>
                  <a:pt x="6540" y="1125"/>
                </a:cubicBezTo>
                <a:cubicBezTo>
                  <a:pt x="6507" y="1151"/>
                  <a:pt x="6480" y="1184"/>
                  <a:pt x="6462" y="1223"/>
                </a:cubicBezTo>
                <a:cubicBezTo>
                  <a:pt x="6443" y="1262"/>
                  <a:pt x="6434" y="1307"/>
                  <a:pt x="6434" y="1356"/>
                </a:cubicBezTo>
                <a:cubicBezTo>
                  <a:pt x="6434" y="1405"/>
                  <a:pt x="6443" y="1447"/>
                  <a:pt x="6461" y="1483"/>
                </a:cubicBezTo>
                <a:cubicBezTo>
                  <a:pt x="6479" y="1519"/>
                  <a:pt x="6502" y="1548"/>
                  <a:pt x="6532" y="1571"/>
                </a:cubicBezTo>
                <a:cubicBezTo>
                  <a:pt x="6561" y="1594"/>
                  <a:pt x="6593" y="1611"/>
                  <a:pt x="6628" y="1622"/>
                </a:cubicBezTo>
                <a:cubicBezTo>
                  <a:pt x="6664" y="1633"/>
                  <a:pt x="6699" y="1639"/>
                  <a:pt x="6735" y="1639"/>
                </a:cubicBezTo>
                <a:cubicBezTo>
                  <a:pt x="6795" y="1639"/>
                  <a:pt x="6849" y="1628"/>
                  <a:pt x="6897" y="1605"/>
                </a:cubicBezTo>
                <a:cubicBezTo>
                  <a:pt x="6945" y="1583"/>
                  <a:pt x="6981" y="1557"/>
                  <a:pt x="7005" y="1529"/>
                </a:cubicBezTo>
                <a:cubicBezTo>
                  <a:pt x="7010" y="1610"/>
                  <a:pt x="7010" y="1610"/>
                  <a:pt x="7010" y="1610"/>
                </a:cubicBezTo>
                <a:close/>
                <a:moveTo>
                  <a:pt x="6024" y="1610"/>
                </a:moveTo>
                <a:cubicBezTo>
                  <a:pt x="6244" y="1610"/>
                  <a:pt x="6244" y="1610"/>
                  <a:pt x="6244" y="1610"/>
                </a:cubicBezTo>
                <a:cubicBezTo>
                  <a:pt x="6244" y="370"/>
                  <a:pt x="6244" y="370"/>
                  <a:pt x="6244" y="370"/>
                </a:cubicBezTo>
                <a:cubicBezTo>
                  <a:pt x="6024" y="370"/>
                  <a:pt x="6024" y="370"/>
                  <a:pt x="6024" y="370"/>
                </a:cubicBezTo>
                <a:cubicBezTo>
                  <a:pt x="6024" y="1610"/>
                  <a:pt x="6024" y="1610"/>
                  <a:pt x="6024" y="1610"/>
                </a:cubicBezTo>
                <a:close/>
                <a:moveTo>
                  <a:pt x="5181" y="1139"/>
                </a:moveTo>
                <a:cubicBezTo>
                  <a:pt x="5181" y="1114"/>
                  <a:pt x="5186" y="1088"/>
                  <a:pt x="5197" y="1062"/>
                </a:cubicBezTo>
                <a:cubicBezTo>
                  <a:pt x="5207" y="1035"/>
                  <a:pt x="5222" y="1010"/>
                  <a:pt x="5241" y="988"/>
                </a:cubicBezTo>
                <a:cubicBezTo>
                  <a:pt x="5261" y="966"/>
                  <a:pt x="5284" y="947"/>
                  <a:pt x="5311" y="933"/>
                </a:cubicBezTo>
                <a:cubicBezTo>
                  <a:pt x="5338" y="919"/>
                  <a:pt x="5369" y="912"/>
                  <a:pt x="5402" y="912"/>
                </a:cubicBezTo>
                <a:cubicBezTo>
                  <a:pt x="5444" y="912"/>
                  <a:pt x="5480" y="919"/>
                  <a:pt x="5508" y="933"/>
                </a:cubicBezTo>
                <a:cubicBezTo>
                  <a:pt x="5537" y="947"/>
                  <a:pt x="5560" y="967"/>
                  <a:pt x="5578" y="991"/>
                </a:cubicBezTo>
                <a:cubicBezTo>
                  <a:pt x="5596" y="1015"/>
                  <a:pt x="5609" y="1043"/>
                  <a:pt x="5617" y="1075"/>
                </a:cubicBezTo>
                <a:cubicBezTo>
                  <a:pt x="5625" y="1108"/>
                  <a:pt x="5629" y="1142"/>
                  <a:pt x="5629" y="1180"/>
                </a:cubicBezTo>
                <a:cubicBezTo>
                  <a:pt x="5629" y="1214"/>
                  <a:pt x="5623" y="1248"/>
                  <a:pt x="5612" y="1280"/>
                </a:cubicBezTo>
                <a:cubicBezTo>
                  <a:pt x="5601" y="1312"/>
                  <a:pt x="5585" y="1341"/>
                  <a:pt x="5563" y="1366"/>
                </a:cubicBezTo>
                <a:cubicBezTo>
                  <a:pt x="5541" y="1392"/>
                  <a:pt x="5515" y="1412"/>
                  <a:pt x="5484" y="1428"/>
                </a:cubicBezTo>
                <a:cubicBezTo>
                  <a:pt x="5453" y="1443"/>
                  <a:pt x="5418" y="1451"/>
                  <a:pt x="5378" y="1451"/>
                </a:cubicBezTo>
                <a:cubicBezTo>
                  <a:pt x="5290" y="1451"/>
                  <a:pt x="5224" y="1433"/>
                  <a:pt x="5181" y="1397"/>
                </a:cubicBezTo>
                <a:cubicBezTo>
                  <a:pt x="5181" y="1139"/>
                  <a:pt x="5181" y="1139"/>
                  <a:pt x="5181" y="1139"/>
                </a:cubicBezTo>
                <a:close/>
                <a:moveTo>
                  <a:pt x="4964" y="1982"/>
                </a:moveTo>
                <a:cubicBezTo>
                  <a:pt x="5181" y="1982"/>
                  <a:pt x="5181" y="1982"/>
                  <a:pt x="5181" y="1982"/>
                </a:cubicBezTo>
                <a:cubicBezTo>
                  <a:pt x="5181" y="1594"/>
                  <a:pt x="5181" y="1594"/>
                  <a:pt x="5181" y="1594"/>
                </a:cubicBezTo>
                <a:cubicBezTo>
                  <a:pt x="5198" y="1600"/>
                  <a:pt x="5212" y="1606"/>
                  <a:pt x="5227" y="1612"/>
                </a:cubicBezTo>
                <a:cubicBezTo>
                  <a:pt x="5241" y="1617"/>
                  <a:pt x="5256" y="1622"/>
                  <a:pt x="5273" y="1627"/>
                </a:cubicBezTo>
                <a:cubicBezTo>
                  <a:pt x="5290" y="1631"/>
                  <a:pt x="5308" y="1634"/>
                  <a:pt x="5329" y="1637"/>
                </a:cubicBezTo>
                <a:cubicBezTo>
                  <a:pt x="5349" y="1639"/>
                  <a:pt x="5374" y="1641"/>
                  <a:pt x="5402" y="1641"/>
                </a:cubicBezTo>
                <a:cubicBezTo>
                  <a:pt x="5464" y="1641"/>
                  <a:pt x="5525" y="1629"/>
                  <a:pt x="5583" y="1605"/>
                </a:cubicBezTo>
                <a:cubicBezTo>
                  <a:pt x="5642" y="1582"/>
                  <a:pt x="5697" y="1540"/>
                  <a:pt x="5746" y="1481"/>
                </a:cubicBezTo>
                <a:cubicBezTo>
                  <a:pt x="5776" y="1445"/>
                  <a:pt x="5801" y="1403"/>
                  <a:pt x="5820" y="1354"/>
                </a:cubicBezTo>
                <a:cubicBezTo>
                  <a:pt x="5840" y="1306"/>
                  <a:pt x="5850" y="1248"/>
                  <a:pt x="5850" y="1180"/>
                </a:cubicBezTo>
                <a:cubicBezTo>
                  <a:pt x="5850" y="1121"/>
                  <a:pt x="5842" y="1065"/>
                  <a:pt x="5826" y="1010"/>
                </a:cubicBezTo>
                <a:cubicBezTo>
                  <a:pt x="5810" y="956"/>
                  <a:pt x="5786" y="907"/>
                  <a:pt x="5754" y="864"/>
                </a:cubicBezTo>
                <a:cubicBezTo>
                  <a:pt x="5721" y="822"/>
                  <a:pt x="5681" y="787"/>
                  <a:pt x="5632" y="761"/>
                </a:cubicBezTo>
                <a:cubicBezTo>
                  <a:pt x="5583" y="735"/>
                  <a:pt x="5525" y="722"/>
                  <a:pt x="5458" y="722"/>
                </a:cubicBezTo>
                <a:cubicBezTo>
                  <a:pt x="5422" y="722"/>
                  <a:pt x="5389" y="726"/>
                  <a:pt x="5360" y="733"/>
                </a:cubicBezTo>
                <a:cubicBezTo>
                  <a:pt x="5331" y="741"/>
                  <a:pt x="5305" y="750"/>
                  <a:pt x="5282" y="761"/>
                </a:cubicBezTo>
                <a:cubicBezTo>
                  <a:pt x="5259" y="772"/>
                  <a:pt x="5239" y="785"/>
                  <a:pt x="5223" y="798"/>
                </a:cubicBezTo>
                <a:cubicBezTo>
                  <a:pt x="5206" y="812"/>
                  <a:pt x="5192" y="825"/>
                  <a:pt x="5181" y="837"/>
                </a:cubicBezTo>
                <a:cubicBezTo>
                  <a:pt x="5175" y="739"/>
                  <a:pt x="5175" y="739"/>
                  <a:pt x="5175" y="739"/>
                </a:cubicBezTo>
                <a:cubicBezTo>
                  <a:pt x="4964" y="739"/>
                  <a:pt x="4964" y="739"/>
                  <a:pt x="4964" y="739"/>
                </a:cubicBezTo>
                <a:cubicBezTo>
                  <a:pt x="4964" y="1982"/>
                  <a:pt x="4964" y="1982"/>
                  <a:pt x="4964" y="1982"/>
                </a:cubicBezTo>
                <a:close/>
                <a:moveTo>
                  <a:pt x="4011" y="1610"/>
                </a:moveTo>
                <a:cubicBezTo>
                  <a:pt x="4231" y="1610"/>
                  <a:pt x="4231" y="1610"/>
                  <a:pt x="4231" y="1610"/>
                </a:cubicBezTo>
                <a:cubicBezTo>
                  <a:pt x="4231" y="1302"/>
                  <a:pt x="4231" y="1302"/>
                  <a:pt x="4231" y="1302"/>
                </a:cubicBezTo>
                <a:cubicBezTo>
                  <a:pt x="4326" y="1209"/>
                  <a:pt x="4326" y="1209"/>
                  <a:pt x="4326" y="1209"/>
                </a:cubicBezTo>
                <a:cubicBezTo>
                  <a:pt x="4578" y="1610"/>
                  <a:pt x="4578" y="1610"/>
                  <a:pt x="4578" y="1610"/>
                </a:cubicBezTo>
                <a:cubicBezTo>
                  <a:pt x="4841" y="1610"/>
                  <a:pt x="4841" y="1610"/>
                  <a:pt x="4841" y="1610"/>
                </a:cubicBezTo>
                <a:cubicBezTo>
                  <a:pt x="4476" y="1060"/>
                  <a:pt x="4476" y="1060"/>
                  <a:pt x="4476" y="1060"/>
                </a:cubicBezTo>
                <a:cubicBezTo>
                  <a:pt x="4803" y="739"/>
                  <a:pt x="4803" y="739"/>
                  <a:pt x="4803" y="739"/>
                </a:cubicBezTo>
                <a:cubicBezTo>
                  <a:pt x="4545" y="739"/>
                  <a:pt x="4545" y="739"/>
                  <a:pt x="4545" y="739"/>
                </a:cubicBezTo>
                <a:cubicBezTo>
                  <a:pt x="4231" y="1048"/>
                  <a:pt x="4231" y="1048"/>
                  <a:pt x="4231" y="1048"/>
                </a:cubicBezTo>
                <a:cubicBezTo>
                  <a:pt x="4231" y="370"/>
                  <a:pt x="4231" y="370"/>
                  <a:pt x="4231" y="370"/>
                </a:cubicBezTo>
                <a:cubicBezTo>
                  <a:pt x="4011" y="370"/>
                  <a:pt x="4011" y="370"/>
                  <a:pt x="4011" y="370"/>
                </a:cubicBezTo>
                <a:cubicBezTo>
                  <a:pt x="4011" y="1610"/>
                  <a:pt x="4011" y="1610"/>
                  <a:pt x="4011" y="1610"/>
                </a:cubicBezTo>
                <a:close/>
                <a:moveTo>
                  <a:pt x="3301" y="1610"/>
                </a:moveTo>
                <a:cubicBezTo>
                  <a:pt x="3521" y="1610"/>
                  <a:pt x="3521" y="1610"/>
                  <a:pt x="3521" y="1610"/>
                </a:cubicBezTo>
                <a:cubicBezTo>
                  <a:pt x="3521" y="1141"/>
                  <a:pt x="3521" y="1141"/>
                  <a:pt x="3521" y="1141"/>
                </a:cubicBezTo>
                <a:cubicBezTo>
                  <a:pt x="3521" y="1108"/>
                  <a:pt x="3527" y="1079"/>
                  <a:pt x="3538" y="1053"/>
                </a:cubicBezTo>
                <a:cubicBezTo>
                  <a:pt x="3550" y="1027"/>
                  <a:pt x="3566" y="1005"/>
                  <a:pt x="3586" y="986"/>
                </a:cubicBezTo>
                <a:cubicBezTo>
                  <a:pt x="3606" y="968"/>
                  <a:pt x="3629" y="953"/>
                  <a:pt x="3656" y="943"/>
                </a:cubicBezTo>
                <a:cubicBezTo>
                  <a:pt x="3684" y="934"/>
                  <a:pt x="3712" y="929"/>
                  <a:pt x="3742" y="929"/>
                </a:cubicBezTo>
                <a:cubicBezTo>
                  <a:pt x="3763" y="929"/>
                  <a:pt x="3781" y="930"/>
                  <a:pt x="3797" y="932"/>
                </a:cubicBezTo>
                <a:cubicBezTo>
                  <a:pt x="3812" y="935"/>
                  <a:pt x="3827" y="939"/>
                  <a:pt x="3842" y="945"/>
                </a:cubicBezTo>
                <a:cubicBezTo>
                  <a:pt x="3887" y="739"/>
                  <a:pt x="3887" y="739"/>
                  <a:pt x="3887" y="739"/>
                </a:cubicBezTo>
                <a:cubicBezTo>
                  <a:pt x="3870" y="733"/>
                  <a:pt x="3852" y="728"/>
                  <a:pt x="3836" y="726"/>
                </a:cubicBezTo>
                <a:cubicBezTo>
                  <a:pt x="3819" y="723"/>
                  <a:pt x="3800" y="722"/>
                  <a:pt x="3779" y="722"/>
                </a:cubicBezTo>
                <a:cubicBezTo>
                  <a:pt x="3743" y="722"/>
                  <a:pt x="3711" y="727"/>
                  <a:pt x="3683" y="735"/>
                </a:cubicBezTo>
                <a:cubicBezTo>
                  <a:pt x="3655" y="744"/>
                  <a:pt x="3631" y="754"/>
                  <a:pt x="3610" y="767"/>
                </a:cubicBezTo>
                <a:cubicBezTo>
                  <a:pt x="3589" y="779"/>
                  <a:pt x="3570" y="793"/>
                  <a:pt x="3555" y="808"/>
                </a:cubicBezTo>
                <a:cubicBezTo>
                  <a:pt x="3539" y="823"/>
                  <a:pt x="3527" y="836"/>
                  <a:pt x="3517" y="849"/>
                </a:cubicBezTo>
                <a:cubicBezTo>
                  <a:pt x="3511" y="739"/>
                  <a:pt x="3511" y="739"/>
                  <a:pt x="3511" y="739"/>
                </a:cubicBezTo>
                <a:cubicBezTo>
                  <a:pt x="3301" y="739"/>
                  <a:pt x="3301" y="739"/>
                  <a:pt x="3301" y="739"/>
                </a:cubicBezTo>
                <a:cubicBezTo>
                  <a:pt x="3301" y="1610"/>
                  <a:pt x="3301" y="1610"/>
                  <a:pt x="3301" y="1610"/>
                </a:cubicBezTo>
                <a:close/>
                <a:moveTo>
                  <a:pt x="2548" y="1426"/>
                </a:moveTo>
                <a:cubicBezTo>
                  <a:pt x="2517" y="1409"/>
                  <a:pt x="2492" y="1387"/>
                  <a:pt x="2471" y="1360"/>
                </a:cubicBezTo>
                <a:cubicBezTo>
                  <a:pt x="2451" y="1333"/>
                  <a:pt x="2435" y="1303"/>
                  <a:pt x="2426" y="1271"/>
                </a:cubicBezTo>
                <a:cubicBezTo>
                  <a:pt x="2416" y="1238"/>
                  <a:pt x="2411" y="1206"/>
                  <a:pt x="2411" y="1174"/>
                </a:cubicBezTo>
                <a:cubicBezTo>
                  <a:pt x="2411" y="1143"/>
                  <a:pt x="2416" y="1111"/>
                  <a:pt x="2426" y="1078"/>
                </a:cubicBezTo>
                <a:cubicBezTo>
                  <a:pt x="2435" y="1045"/>
                  <a:pt x="2451" y="1016"/>
                  <a:pt x="2471" y="989"/>
                </a:cubicBezTo>
                <a:cubicBezTo>
                  <a:pt x="2492" y="962"/>
                  <a:pt x="2517" y="941"/>
                  <a:pt x="2548" y="924"/>
                </a:cubicBezTo>
                <a:cubicBezTo>
                  <a:pt x="2579" y="907"/>
                  <a:pt x="2616" y="899"/>
                  <a:pt x="2658" y="899"/>
                </a:cubicBezTo>
                <a:cubicBezTo>
                  <a:pt x="2700" y="899"/>
                  <a:pt x="2737" y="907"/>
                  <a:pt x="2768" y="924"/>
                </a:cubicBezTo>
                <a:cubicBezTo>
                  <a:pt x="2799" y="941"/>
                  <a:pt x="2824" y="962"/>
                  <a:pt x="2845" y="989"/>
                </a:cubicBezTo>
                <a:cubicBezTo>
                  <a:pt x="2865" y="1016"/>
                  <a:pt x="2880" y="1045"/>
                  <a:pt x="2890" y="1078"/>
                </a:cubicBezTo>
                <a:cubicBezTo>
                  <a:pt x="2900" y="1111"/>
                  <a:pt x="2905" y="1143"/>
                  <a:pt x="2905" y="1174"/>
                </a:cubicBezTo>
                <a:cubicBezTo>
                  <a:pt x="2905" y="1206"/>
                  <a:pt x="2900" y="1238"/>
                  <a:pt x="2890" y="1271"/>
                </a:cubicBezTo>
                <a:cubicBezTo>
                  <a:pt x="2880" y="1303"/>
                  <a:pt x="2865" y="1333"/>
                  <a:pt x="2845" y="1360"/>
                </a:cubicBezTo>
                <a:cubicBezTo>
                  <a:pt x="2824" y="1387"/>
                  <a:pt x="2799" y="1409"/>
                  <a:pt x="2768" y="1426"/>
                </a:cubicBezTo>
                <a:cubicBezTo>
                  <a:pt x="2737" y="1443"/>
                  <a:pt x="2700" y="1451"/>
                  <a:pt x="2658" y="1451"/>
                </a:cubicBezTo>
                <a:cubicBezTo>
                  <a:pt x="2616" y="1451"/>
                  <a:pt x="2579" y="1443"/>
                  <a:pt x="2548" y="1426"/>
                </a:cubicBezTo>
                <a:cubicBezTo>
                  <a:pt x="2548" y="1426"/>
                  <a:pt x="2548" y="1426"/>
                  <a:pt x="2548" y="1426"/>
                </a:cubicBezTo>
                <a:close/>
                <a:moveTo>
                  <a:pt x="2320" y="1502"/>
                </a:moveTo>
                <a:cubicBezTo>
                  <a:pt x="2360" y="1545"/>
                  <a:pt x="2410" y="1579"/>
                  <a:pt x="2467" y="1603"/>
                </a:cubicBezTo>
                <a:cubicBezTo>
                  <a:pt x="2525" y="1628"/>
                  <a:pt x="2589" y="1641"/>
                  <a:pt x="2658" y="1641"/>
                </a:cubicBezTo>
                <a:cubicBezTo>
                  <a:pt x="2727" y="1641"/>
                  <a:pt x="2791" y="1628"/>
                  <a:pt x="2849" y="1603"/>
                </a:cubicBezTo>
                <a:cubicBezTo>
                  <a:pt x="2906" y="1579"/>
                  <a:pt x="2955" y="1545"/>
                  <a:pt x="2996" y="1502"/>
                </a:cubicBezTo>
                <a:cubicBezTo>
                  <a:pt x="3037" y="1459"/>
                  <a:pt x="3069" y="1410"/>
                  <a:pt x="3092" y="1353"/>
                </a:cubicBezTo>
                <a:cubicBezTo>
                  <a:pt x="3115" y="1297"/>
                  <a:pt x="3126" y="1237"/>
                  <a:pt x="3126" y="1174"/>
                </a:cubicBezTo>
                <a:cubicBezTo>
                  <a:pt x="3126" y="1111"/>
                  <a:pt x="3115" y="1051"/>
                  <a:pt x="3092" y="995"/>
                </a:cubicBezTo>
                <a:cubicBezTo>
                  <a:pt x="3069" y="938"/>
                  <a:pt x="3037" y="889"/>
                  <a:pt x="2996" y="847"/>
                </a:cubicBezTo>
                <a:cubicBezTo>
                  <a:pt x="2955" y="805"/>
                  <a:pt x="2906" y="771"/>
                  <a:pt x="2849" y="746"/>
                </a:cubicBezTo>
                <a:cubicBezTo>
                  <a:pt x="2791" y="722"/>
                  <a:pt x="2727" y="709"/>
                  <a:pt x="2658" y="709"/>
                </a:cubicBezTo>
                <a:cubicBezTo>
                  <a:pt x="2589" y="709"/>
                  <a:pt x="2525" y="722"/>
                  <a:pt x="2467" y="746"/>
                </a:cubicBezTo>
                <a:cubicBezTo>
                  <a:pt x="2410" y="771"/>
                  <a:pt x="2360" y="805"/>
                  <a:pt x="2320" y="847"/>
                </a:cubicBezTo>
                <a:cubicBezTo>
                  <a:pt x="2279" y="889"/>
                  <a:pt x="2247" y="938"/>
                  <a:pt x="2224" y="995"/>
                </a:cubicBezTo>
                <a:cubicBezTo>
                  <a:pt x="2201" y="1051"/>
                  <a:pt x="2189" y="1111"/>
                  <a:pt x="2189" y="1174"/>
                </a:cubicBezTo>
                <a:cubicBezTo>
                  <a:pt x="2189" y="1237"/>
                  <a:pt x="2201" y="1297"/>
                  <a:pt x="2224" y="1353"/>
                </a:cubicBezTo>
                <a:cubicBezTo>
                  <a:pt x="2247" y="1410"/>
                  <a:pt x="2279" y="1459"/>
                  <a:pt x="2320" y="1502"/>
                </a:cubicBezTo>
                <a:close/>
                <a:moveTo>
                  <a:pt x="1868" y="1554"/>
                </a:moveTo>
                <a:cubicBezTo>
                  <a:pt x="1839" y="1588"/>
                  <a:pt x="1786" y="1642"/>
                  <a:pt x="1703" y="1642"/>
                </a:cubicBezTo>
                <a:cubicBezTo>
                  <a:pt x="1586" y="1642"/>
                  <a:pt x="1548" y="1557"/>
                  <a:pt x="1512" y="1468"/>
                </a:cubicBezTo>
                <a:cubicBezTo>
                  <a:pt x="1336" y="1035"/>
                  <a:pt x="1336" y="1035"/>
                  <a:pt x="1336" y="1035"/>
                </a:cubicBezTo>
                <a:cubicBezTo>
                  <a:pt x="1160" y="1468"/>
                  <a:pt x="1160" y="1468"/>
                  <a:pt x="1160" y="1468"/>
                </a:cubicBezTo>
                <a:cubicBezTo>
                  <a:pt x="1130" y="1542"/>
                  <a:pt x="1098" y="1642"/>
                  <a:pt x="969" y="1642"/>
                </a:cubicBezTo>
                <a:cubicBezTo>
                  <a:pt x="841" y="1642"/>
                  <a:pt x="808" y="1542"/>
                  <a:pt x="778" y="1468"/>
                </a:cubicBezTo>
                <a:cubicBezTo>
                  <a:pt x="482" y="739"/>
                  <a:pt x="482" y="739"/>
                  <a:pt x="482" y="739"/>
                </a:cubicBezTo>
                <a:cubicBezTo>
                  <a:pt x="731" y="739"/>
                  <a:pt x="731" y="739"/>
                  <a:pt x="731" y="739"/>
                </a:cubicBezTo>
                <a:cubicBezTo>
                  <a:pt x="969" y="1339"/>
                  <a:pt x="969" y="1339"/>
                  <a:pt x="969" y="1339"/>
                </a:cubicBezTo>
                <a:cubicBezTo>
                  <a:pt x="1146" y="902"/>
                  <a:pt x="1146" y="902"/>
                  <a:pt x="1146" y="902"/>
                </a:cubicBezTo>
                <a:cubicBezTo>
                  <a:pt x="1174" y="833"/>
                  <a:pt x="1208" y="728"/>
                  <a:pt x="1336" y="728"/>
                </a:cubicBezTo>
                <a:cubicBezTo>
                  <a:pt x="1463" y="728"/>
                  <a:pt x="1497" y="833"/>
                  <a:pt x="1525" y="902"/>
                </a:cubicBezTo>
                <a:cubicBezTo>
                  <a:pt x="1718" y="1375"/>
                  <a:pt x="1718" y="1375"/>
                  <a:pt x="1718" y="1375"/>
                </a:cubicBezTo>
                <a:cubicBezTo>
                  <a:pt x="1795" y="1258"/>
                  <a:pt x="1841" y="1118"/>
                  <a:pt x="1841" y="967"/>
                </a:cubicBezTo>
                <a:cubicBezTo>
                  <a:pt x="1841" y="558"/>
                  <a:pt x="1509" y="226"/>
                  <a:pt x="1100" y="226"/>
                </a:cubicBezTo>
                <a:cubicBezTo>
                  <a:pt x="866" y="226"/>
                  <a:pt x="647" y="317"/>
                  <a:pt x="482" y="482"/>
                </a:cubicBezTo>
                <a:cubicBezTo>
                  <a:pt x="317" y="647"/>
                  <a:pt x="226" y="867"/>
                  <a:pt x="226" y="1100"/>
                </a:cubicBezTo>
                <a:cubicBezTo>
                  <a:pt x="226" y="1334"/>
                  <a:pt x="317" y="1553"/>
                  <a:pt x="482" y="1718"/>
                </a:cubicBezTo>
                <a:cubicBezTo>
                  <a:pt x="647" y="1884"/>
                  <a:pt x="867" y="1975"/>
                  <a:pt x="1101" y="1975"/>
                </a:cubicBezTo>
                <a:cubicBezTo>
                  <a:pt x="1181" y="1975"/>
                  <a:pt x="1260" y="1964"/>
                  <a:pt x="1337" y="1942"/>
                </a:cubicBezTo>
                <a:cubicBezTo>
                  <a:pt x="1337" y="2174"/>
                  <a:pt x="1337" y="2174"/>
                  <a:pt x="1337" y="2174"/>
                </a:cubicBezTo>
                <a:cubicBezTo>
                  <a:pt x="1259" y="2191"/>
                  <a:pt x="1180" y="2200"/>
                  <a:pt x="1101" y="2200"/>
                </a:cubicBezTo>
                <a:cubicBezTo>
                  <a:pt x="952" y="2200"/>
                  <a:pt x="807" y="2171"/>
                  <a:pt x="672" y="2114"/>
                </a:cubicBezTo>
                <a:cubicBezTo>
                  <a:pt x="541" y="2058"/>
                  <a:pt x="423" y="1979"/>
                  <a:pt x="322" y="1878"/>
                </a:cubicBezTo>
                <a:cubicBezTo>
                  <a:pt x="221" y="1777"/>
                  <a:pt x="142" y="1659"/>
                  <a:pt x="86" y="1528"/>
                </a:cubicBezTo>
                <a:cubicBezTo>
                  <a:pt x="29" y="1393"/>
                  <a:pt x="0" y="1249"/>
                  <a:pt x="0" y="1100"/>
                </a:cubicBezTo>
                <a:cubicBezTo>
                  <a:pt x="0" y="952"/>
                  <a:pt x="29" y="808"/>
                  <a:pt x="86" y="672"/>
                </a:cubicBezTo>
                <a:cubicBezTo>
                  <a:pt x="142" y="541"/>
                  <a:pt x="221" y="423"/>
                  <a:pt x="322" y="322"/>
                </a:cubicBezTo>
                <a:cubicBezTo>
                  <a:pt x="423" y="222"/>
                  <a:pt x="541" y="142"/>
                  <a:pt x="672" y="87"/>
                </a:cubicBezTo>
                <a:cubicBezTo>
                  <a:pt x="807" y="29"/>
                  <a:pt x="951" y="0"/>
                  <a:pt x="1100" y="0"/>
                </a:cubicBezTo>
                <a:cubicBezTo>
                  <a:pt x="1634" y="0"/>
                  <a:pt x="2066" y="433"/>
                  <a:pt x="2066" y="967"/>
                </a:cubicBezTo>
                <a:cubicBezTo>
                  <a:pt x="2066" y="1188"/>
                  <a:pt x="1992" y="1391"/>
                  <a:pt x="1868" y="1554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6" name="Google Shape;56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214797" y="0"/>
            <a:ext cx="8963068" cy="6857831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5"/>
          <p:cNvSpPr txBox="1">
            <a:spLocks noGrp="1"/>
          </p:cNvSpPr>
          <p:nvPr>
            <p:ph type="title"/>
          </p:nvPr>
        </p:nvSpPr>
        <p:spPr>
          <a:xfrm>
            <a:off x="713225" y="2478525"/>
            <a:ext cx="6006900" cy="10623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5"/>
          <p:cNvSpPr txBox="1">
            <a:spLocks noGrp="1"/>
          </p:cNvSpPr>
          <p:nvPr>
            <p:ph type="subTitle" idx="1"/>
          </p:nvPr>
        </p:nvSpPr>
        <p:spPr>
          <a:xfrm>
            <a:off x="713232" y="3635950"/>
            <a:ext cx="6006900" cy="1196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24601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59063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lue">
  <p:cSld name="Divider Blue">
    <p:bg>
      <p:bgPr>
        <a:solidFill>
          <a:schemeClr val="accent1"/>
        </a:solidFill>
        <a:effectLst/>
      </p:bgPr>
    </p:bg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7"/>
          <p:cNvSpPr/>
          <p:nvPr/>
        </p:nvSpPr>
        <p:spPr>
          <a:xfrm>
            <a:off x="-1" y="0"/>
            <a:ext cx="12191701" cy="6857998"/>
          </a:xfrm>
          <a:custGeom>
            <a:avLst/>
            <a:gdLst/>
            <a:ahLst/>
            <a:cxnLst/>
            <a:rect l="l" t="t" r="r" b="b"/>
            <a:pathLst>
              <a:path w="12192001" h="6857998" extrusionOk="0">
                <a:moveTo>
                  <a:pt x="0" y="4735273"/>
                </a:moveTo>
                <a:lnTo>
                  <a:pt x="148186" y="5069007"/>
                </a:lnTo>
                <a:cubicBezTo>
                  <a:pt x="445618" y="5696692"/>
                  <a:pt x="824800" y="6287076"/>
                  <a:pt x="1279898" y="6826759"/>
                </a:cubicBezTo>
                <a:lnTo>
                  <a:pt x="1307407" y="6857998"/>
                </a:lnTo>
                <a:lnTo>
                  <a:pt x="0" y="6857998"/>
                </a:lnTo>
                <a:close/>
                <a:moveTo>
                  <a:pt x="2479307" y="0"/>
                </a:moveTo>
                <a:lnTo>
                  <a:pt x="4785738" y="0"/>
                </a:lnTo>
                <a:lnTo>
                  <a:pt x="4809321" y="59638"/>
                </a:lnTo>
                <a:cubicBezTo>
                  <a:pt x="6291896" y="3808832"/>
                  <a:pt x="6291896" y="3808832"/>
                  <a:pt x="6291896" y="3808832"/>
                </a:cubicBezTo>
                <a:cubicBezTo>
                  <a:pt x="7272495" y="1386789"/>
                  <a:pt x="7670863" y="402833"/>
                  <a:pt x="7832699" y="3102"/>
                </a:cubicBezTo>
                <a:lnTo>
                  <a:pt x="7833955" y="0"/>
                </a:lnTo>
                <a:lnTo>
                  <a:pt x="11587269" y="0"/>
                </a:lnTo>
                <a:lnTo>
                  <a:pt x="11640360" y="131036"/>
                </a:lnTo>
                <a:cubicBezTo>
                  <a:pt x="11843812" y="633183"/>
                  <a:pt x="12021833" y="1072562"/>
                  <a:pt x="12177600" y="1457019"/>
                </a:cubicBezTo>
                <a:lnTo>
                  <a:pt x="12192001" y="1492562"/>
                </a:lnTo>
                <a:lnTo>
                  <a:pt x="12192001" y="6354106"/>
                </a:lnTo>
                <a:lnTo>
                  <a:pt x="12175060" y="6342587"/>
                </a:lnTo>
                <a:cubicBezTo>
                  <a:pt x="11775402" y="6037479"/>
                  <a:pt x="11558638" y="5533190"/>
                  <a:pt x="11352196" y="5013304"/>
                </a:cubicBezTo>
                <a:cubicBezTo>
                  <a:pt x="9707268" y="967345"/>
                  <a:pt x="9707268" y="967345"/>
                  <a:pt x="9707268" y="967345"/>
                </a:cubicBezTo>
                <a:cubicBezTo>
                  <a:pt x="8075553" y="5013304"/>
                  <a:pt x="8075553" y="5013304"/>
                  <a:pt x="8075553" y="5013304"/>
                </a:cubicBezTo>
                <a:cubicBezTo>
                  <a:pt x="7798095" y="5705375"/>
                  <a:pt x="7494213" y="6637011"/>
                  <a:pt x="6298502" y="6637011"/>
                </a:cubicBezTo>
                <a:cubicBezTo>
                  <a:pt x="5096186" y="6637011"/>
                  <a:pt x="4792303" y="5705375"/>
                  <a:pt x="4514845" y="5013304"/>
                </a:cubicBezTo>
                <a:cubicBezTo>
                  <a:pt x="3565626" y="2675482"/>
                  <a:pt x="2942701" y="1141286"/>
                  <a:pt x="2533906" y="134470"/>
                </a:cubicBezTo>
                <a:close/>
              </a:path>
            </a:pathLst>
          </a:custGeom>
          <a:solidFill>
            <a:srgbClr val="FFFFFF">
              <a:alpha val="5098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p7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7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69" name="Google Shape;69;p7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70;p7"/>
          <p:cNvSpPr txBox="1">
            <a:spLocks noGrp="1"/>
          </p:cNvSpPr>
          <p:nvPr>
            <p:ph type="ctrTitle"/>
          </p:nvPr>
        </p:nvSpPr>
        <p:spPr>
          <a:xfrm>
            <a:off x="717532" y="2459746"/>
            <a:ext cx="10745400" cy="10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7"/>
          <p:cNvSpPr txBox="1">
            <a:spLocks noGrp="1"/>
          </p:cNvSpPr>
          <p:nvPr>
            <p:ph type="subTitle" idx="1"/>
          </p:nvPr>
        </p:nvSpPr>
        <p:spPr>
          <a:xfrm>
            <a:off x="717525" y="3633050"/>
            <a:ext cx="10745400" cy="119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1"/>
                </a:solidFill>
              </a:defRPr>
            </a:lvl1pPr>
            <a:lvl2pPr lvl="1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18434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White">
  <p:cSld name="Divider White">
    <p:bg>
      <p:bgPr>
        <a:solidFill>
          <a:schemeClr val="lt2"/>
        </a:solidFill>
        <a:effectLst/>
      </p:bgPr>
    </p:bg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8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8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75" name="Google Shape;75;p8"/>
          <p:cNvSpPr txBox="1">
            <a:spLocks noGrp="1"/>
          </p:cNvSpPr>
          <p:nvPr>
            <p:ph type="title"/>
          </p:nvPr>
        </p:nvSpPr>
        <p:spPr>
          <a:xfrm>
            <a:off x="717532" y="2459746"/>
            <a:ext cx="10745525" cy="1077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Mukta ExtraLight"/>
              <a:buNone/>
              <a:defRPr sz="48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8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77;p8"/>
          <p:cNvSpPr txBox="1">
            <a:spLocks noGrp="1"/>
          </p:cNvSpPr>
          <p:nvPr>
            <p:ph type="subTitle" idx="1"/>
          </p:nvPr>
        </p:nvSpPr>
        <p:spPr>
          <a:xfrm>
            <a:off x="722375" y="3635950"/>
            <a:ext cx="6006900" cy="1196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164865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Devices + Placeholders">
  <p:cSld name="Two Devices + Placeholder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9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9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81" name="Google Shape;81;p9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82;p9"/>
          <p:cNvSpPr txBox="1">
            <a:spLocks noGrp="1"/>
          </p:cNvSpPr>
          <p:nvPr>
            <p:ph type="title"/>
          </p:nvPr>
        </p:nvSpPr>
        <p:spPr>
          <a:xfrm>
            <a:off x="713200" y="1579000"/>
            <a:ext cx="3847500" cy="366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 sz="2200"/>
            </a:lvl1pPr>
            <a:lvl2pPr lvl="1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9"/>
          <p:cNvSpPr txBox="1">
            <a:spLocks noGrp="1"/>
          </p:cNvSpPr>
          <p:nvPr>
            <p:ph type="body" idx="1"/>
          </p:nvPr>
        </p:nvSpPr>
        <p:spPr>
          <a:xfrm>
            <a:off x="713200" y="2086175"/>
            <a:ext cx="3891900" cy="3397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30200">
              <a:spcBef>
                <a:spcPts val="300"/>
              </a:spcBef>
              <a:spcAft>
                <a:spcPts val="0"/>
              </a:spcAft>
              <a:buSzPts val="1600"/>
              <a:buChar char="−"/>
              <a:defRPr sz="1600"/>
            </a:lvl2pPr>
            <a:lvl3pPr marL="1371600" lvl="2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5pPr>
            <a:lvl6pPr marL="2743200" lvl="5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6pPr>
            <a:lvl7pPr marL="3200400" lvl="6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7pPr>
            <a:lvl8pPr marL="3657600" lvl="7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8pPr>
            <a:lvl9pPr marL="4114800" lvl="8" indent="-330200">
              <a:spcBef>
                <a:spcPts val="300"/>
              </a:spcBef>
              <a:spcAft>
                <a:spcPts val="300"/>
              </a:spcAft>
              <a:buSzPts val="1600"/>
              <a:buChar char="•"/>
              <a:defRPr sz="1600"/>
            </a:lvl9pPr>
          </a:lstStyle>
          <a:p>
            <a:endParaRPr/>
          </a:p>
        </p:txBody>
      </p:sp>
      <p:pic>
        <p:nvPicPr>
          <p:cNvPr id="84" name="Google Shape;84;p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15125" y="459513"/>
            <a:ext cx="3133987" cy="5609032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Google Shape;85;p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702513" y="459513"/>
            <a:ext cx="3133987" cy="56090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60719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Medium)">
  <p:cSld name="Two Content (Medium)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13"/>
          <p:cNvSpPr txBox="1">
            <a:spLocks noGrp="1"/>
          </p:cNvSpPr>
          <p:nvPr>
            <p:ph type="title"/>
          </p:nvPr>
        </p:nvSpPr>
        <p:spPr>
          <a:xfrm>
            <a:off x="717532" y="465801"/>
            <a:ext cx="10745525" cy="877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13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09" name="Google Shape;109;p13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13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6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13"/>
          <p:cNvSpPr txBox="1">
            <a:spLocks noGrp="1"/>
          </p:cNvSpPr>
          <p:nvPr>
            <p:ph type="body" idx="1"/>
          </p:nvPr>
        </p:nvSpPr>
        <p:spPr>
          <a:xfrm>
            <a:off x="717532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−"/>
              <a:defRPr sz="1800"/>
            </a:lvl2pPr>
            <a:lvl3pPr marL="1371600" lvl="2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4pPr>
            <a:lvl5pPr marL="2286000" lvl="4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5pPr>
            <a:lvl6pPr marL="2743200" lvl="5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6pPr>
            <a:lvl7pPr marL="3200400" lvl="6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 sz="1800"/>
            </a:lvl7pPr>
            <a:lvl8pPr marL="3657600" lvl="7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 sz="1800"/>
            </a:lvl8pPr>
            <a:lvl9pPr marL="4114800" lvl="8" indent="-3429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12" name="Google Shape;112;p13"/>
          <p:cNvSpPr txBox="1">
            <a:spLocks noGrp="1"/>
          </p:cNvSpPr>
          <p:nvPr>
            <p:ph type="body" idx="2"/>
          </p:nvPr>
        </p:nvSpPr>
        <p:spPr>
          <a:xfrm>
            <a:off x="6109003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−"/>
              <a:defRPr sz="1800"/>
            </a:lvl2pPr>
            <a:lvl3pPr marL="1371600" lvl="2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4pPr>
            <a:lvl5pPr marL="2286000" lvl="4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5pPr>
            <a:lvl6pPr marL="2743200" lvl="5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6pPr>
            <a:lvl7pPr marL="3200400" lvl="6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 sz="1800"/>
            </a:lvl7pPr>
            <a:lvl8pPr marL="3657600" lvl="7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 sz="1800"/>
            </a:lvl8pPr>
            <a:lvl9pPr marL="4114800" lvl="8" indent="-3429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13" name="Google Shape;113;p13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rgbClr val="20252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31416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Small)">
  <p:cSld name="Two Content (Small)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14"/>
          <p:cNvSpPr txBox="1">
            <a:spLocks noGrp="1"/>
          </p:cNvSpPr>
          <p:nvPr>
            <p:ph type="title"/>
          </p:nvPr>
        </p:nvSpPr>
        <p:spPr>
          <a:xfrm>
            <a:off x="717532" y="465801"/>
            <a:ext cx="10745525" cy="877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" name="Google Shape;116;p14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17" name="Google Shape;117;p14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14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6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14"/>
          <p:cNvSpPr txBox="1">
            <a:spLocks noGrp="1"/>
          </p:cNvSpPr>
          <p:nvPr>
            <p:ph type="body" idx="1"/>
          </p:nvPr>
        </p:nvSpPr>
        <p:spPr>
          <a:xfrm>
            <a:off x="717532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−"/>
              <a:defRPr sz="1600"/>
            </a:lvl2pPr>
            <a:lvl3pPr marL="1371600" lvl="2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5pPr>
            <a:lvl6pPr marL="2743200" lvl="5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6pPr>
            <a:lvl7pPr marL="3200400" lvl="6" indent="-3302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7pPr>
            <a:lvl8pPr marL="3657600" lvl="7" indent="-3302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8pPr>
            <a:lvl9pPr marL="4114800" lvl="8" indent="-3302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120" name="Google Shape;120;p14"/>
          <p:cNvSpPr txBox="1">
            <a:spLocks noGrp="1"/>
          </p:cNvSpPr>
          <p:nvPr>
            <p:ph type="body" idx="2"/>
          </p:nvPr>
        </p:nvSpPr>
        <p:spPr>
          <a:xfrm>
            <a:off x="6109003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−"/>
              <a:defRPr sz="1600"/>
            </a:lvl2pPr>
            <a:lvl3pPr marL="1371600" lvl="2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5pPr>
            <a:lvl6pPr marL="2743200" lvl="5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6pPr>
            <a:lvl7pPr marL="3200400" lvl="6" indent="-3302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7pPr>
            <a:lvl8pPr marL="3657600" lvl="7" indent="-3302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8pPr>
            <a:lvl9pPr marL="4114800" lvl="8" indent="-3302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121" name="Google Shape;121;p14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rgbClr val="20252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74789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">
  <p:cSld name="Three column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16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29" name="Google Shape;129;p16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p16"/>
          <p:cNvSpPr txBox="1">
            <a:spLocks noGrp="1"/>
          </p:cNvSpPr>
          <p:nvPr>
            <p:ph type="body" idx="1"/>
          </p:nvPr>
        </p:nvSpPr>
        <p:spPr>
          <a:xfrm>
            <a:off x="717534" y="1456531"/>
            <a:ext cx="3358021" cy="410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Mukta"/>
              <a:buNone/>
              <a:defRPr sz="1800">
                <a:latin typeface="Mukta"/>
                <a:ea typeface="Mukta"/>
                <a:cs typeface="Mukta"/>
                <a:sym typeface="Mukta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800"/>
              <a:buFont typeface="Mukta"/>
              <a:buChar char="•"/>
              <a:defRPr sz="1800"/>
            </a:lvl9pPr>
          </a:lstStyle>
          <a:p>
            <a:endParaRPr/>
          </a:p>
        </p:txBody>
      </p:sp>
      <p:cxnSp>
        <p:nvCxnSpPr>
          <p:cNvPr id="131" name="Google Shape;131;p16"/>
          <p:cNvCxnSpPr/>
          <p:nvPr/>
        </p:nvCxnSpPr>
        <p:spPr>
          <a:xfrm>
            <a:off x="4243421" y="1456531"/>
            <a:ext cx="0" cy="3944938"/>
          </a:xfrm>
          <a:prstGeom prst="straightConnector1">
            <a:avLst/>
          </a:prstGeom>
          <a:noFill/>
          <a:ln w="9525" cap="flat" cmpd="sng">
            <a:solidFill>
              <a:srgbClr val="D2D2D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2" name="Google Shape;132;p16"/>
          <p:cNvCxnSpPr/>
          <p:nvPr/>
        </p:nvCxnSpPr>
        <p:spPr>
          <a:xfrm>
            <a:off x="7937172" y="1456531"/>
            <a:ext cx="0" cy="3944938"/>
          </a:xfrm>
          <a:prstGeom prst="straightConnector1">
            <a:avLst/>
          </a:prstGeom>
          <a:noFill/>
          <a:ln w="9525" cap="flat" cmpd="sng">
            <a:solidFill>
              <a:srgbClr val="D2D2D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16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rgbClr val="20252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" name="Google Shape;134;p16"/>
          <p:cNvSpPr txBox="1">
            <a:spLocks noGrp="1"/>
          </p:cNvSpPr>
          <p:nvPr>
            <p:ph type="body" idx="2"/>
          </p:nvPr>
        </p:nvSpPr>
        <p:spPr>
          <a:xfrm>
            <a:off x="4411286" y="1456531"/>
            <a:ext cx="3358021" cy="410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Mukta"/>
              <a:buNone/>
              <a:defRPr sz="1800">
                <a:latin typeface="Mukta"/>
                <a:ea typeface="Mukta"/>
                <a:cs typeface="Mukta"/>
                <a:sym typeface="Mukta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800"/>
              <a:buFont typeface="Mukta"/>
              <a:buChar char="•"/>
              <a:defRPr sz="1800"/>
            </a:lvl9pPr>
          </a:lstStyle>
          <a:p>
            <a:endParaRPr/>
          </a:p>
        </p:txBody>
      </p:sp>
      <p:sp>
        <p:nvSpPr>
          <p:cNvPr id="135" name="Google Shape;135;p16"/>
          <p:cNvSpPr txBox="1">
            <a:spLocks noGrp="1"/>
          </p:cNvSpPr>
          <p:nvPr>
            <p:ph type="body" idx="3"/>
          </p:nvPr>
        </p:nvSpPr>
        <p:spPr>
          <a:xfrm>
            <a:off x="8105035" y="1456531"/>
            <a:ext cx="3358021" cy="410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Mukta"/>
              <a:buNone/>
              <a:defRPr sz="1800">
                <a:latin typeface="Mukta"/>
                <a:ea typeface="Mukta"/>
                <a:cs typeface="Mukta"/>
                <a:sym typeface="Mukta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800"/>
              <a:buFont typeface="Mukta"/>
              <a:buChar char="•"/>
              <a:defRPr sz="1800"/>
            </a:lvl9pPr>
          </a:lstStyle>
          <a:p>
            <a:endParaRPr/>
          </a:p>
        </p:txBody>
      </p:sp>
      <p:sp>
        <p:nvSpPr>
          <p:cNvPr id="136" name="Google Shape;136;p16"/>
          <p:cNvSpPr txBox="1">
            <a:spLocks noGrp="1"/>
          </p:cNvSpPr>
          <p:nvPr>
            <p:ph type="body" idx="4"/>
          </p:nvPr>
        </p:nvSpPr>
        <p:spPr>
          <a:xfrm>
            <a:off x="717534" y="2003836"/>
            <a:ext cx="3358021" cy="3397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5pPr>
            <a:lvl6pPr marL="2743200" lvl="5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6pPr>
            <a:lvl7pPr marL="3200400" lvl="6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7pPr>
            <a:lvl8pPr marL="3657600" lvl="7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8pPr>
            <a:lvl9pPr marL="4114800" lvl="8" indent="-3175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400"/>
              <a:buFont typeface="Mukta ExtraLight"/>
              <a:buChar char="•"/>
              <a:defRPr sz="1400"/>
            </a:lvl9pPr>
          </a:lstStyle>
          <a:p>
            <a:endParaRPr/>
          </a:p>
        </p:txBody>
      </p:sp>
      <p:sp>
        <p:nvSpPr>
          <p:cNvPr id="137" name="Google Shape;137;p16"/>
          <p:cNvSpPr txBox="1">
            <a:spLocks noGrp="1"/>
          </p:cNvSpPr>
          <p:nvPr>
            <p:ph type="body" idx="5"/>
          </p:nvPr>
        </p:nvSpPr>
        <p:spPr>
          <a:xfrm>
            <a:off x="4411286" y="2003836"/>
            <a:ext cx="3358021" cy="3397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5pPr>
            <a:lvl6pPr marL="2743200" lvl="5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6pPr>
            <a:lvl7pPr marL="3200400" lvl="6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7pPr>
            <a:lvl8pPr marL="3657600" lvl="7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8pPr>
            <a:lvl9pPr marL="4114800" lvl="8" indent="-3175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400"/>
              <a:buFont typeface="Mukta ExtraLight"/>
              <a:buChar char="•"/>
              <a:defRPr sz="1400"/>
            </a:lvl9pPr>
          </a:lstStyle>
          <a:p>
            <a:endParaRPr/>
          </a:p>
        </p:txBody>
      </p:sp>
      <p:sp>
        <p:nvSpPr>
          <p:cNvPr id="138" name="Google Shape;138;p16"/>
          <p:cNvSpPr txBox="1">
            <a:spLocks noGrp="1"/>
          </p:cNvSpPr>
          <p:nvPr>
            <p:ph type="body" idx="6"/>
          </p:nvPr>
        </p:nvSpPr>
        <p:spPr>
          <a:xfrm>
            <a:off x="8105035" y="2003836"/>
            <a:ext cx="3358021" cy="3397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5pPr>
            <a:lvl6pPr marL="2743200" lvl="5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6pPr>
            <a:lvl7pPr marL="3200400" lvl="6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7pPr>
            <a:lvl8pPr marL="3657600" lvl="7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8pPr>
            <a:lvl9pPr marL="4114800" lvl="8" indent="-3175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400"/>
              <a:buFont typeface="Mukta ExtraLight"/>
              <a:buChar char="•"/>
              <a:defRPr sz="1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0944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20"/>
          <p:cNvSpPr txBox="1">
            <a:spLocks noGrp="1"/>
          </p:cNvSpPr>
          <p:nvPr>
            <p:ph type="title"/>
          </p:nvPr>
        </p:nvSpPr>
        <p:spPr>
          <a:xfrm>
            <a:off x="717532" y="465801"/>
            <a:ext cx="10745525" cy="877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20"/>
          <p:cNvSpPr txBox="1">
            <a:spLocks noGrp="1"/>
          </p:cNvSpPr>
          <p:nvPr>
            <p:ph type="body" idx="1"/>
          </p:nvPr>
        </p:nvSpPr>
        <p:spPr>
          <a:xfrm>
            <a:off x="717532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6195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914400" lvl="1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Arial"/>
              <a:buChar char="−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1371600" lvl="2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1828800" lvl="3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2286000" lvl="4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2743200" lvl="5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20"/>
          <p:cNvSpPr txBox="1">
            <a:spLocks noGrp="1"/>
          </p:cNvSpPr>
          <p:nvPr>
            <p:ph type="body" idx="2"/>
          </p:nvPr>
        </p:nvSpPr>
        <p:spPr>
          <a:xfrm>
            <a:off x="6109003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6195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914400" lvl="1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Arial"/>
              <a:buChar char="−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1371600" lvl="2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1828800" lvl="3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2286000" lvl="4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2743200" lvl="5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20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20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6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20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57" name="Google Shape;157;p20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rgbClr val="20252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89005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No WAT">
  <p:cSld name="Blank No WAT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22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65" name="Google Shape;165;p22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" name="Google Shape;166;p22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6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02405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676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Slide 1 (Text Heavy with Bullets)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8D8A08B7-A283-49C9-9B77-760E9C87AE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316186"/>
            <a:ext cx="10820400" cy="734175"/>
          </a:xfr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b">
            <a:spAutoFit/>
          </a:bodyPr>
          <a:lstStyle>
            <a:lvl1pPr marL="0" indent="0">
              <a:buNone/>
              <a:defRPr kumimoji="0" lang="en-GB" sz="3600" b="0" i="0" normalizeH="0" dirty="0">
                <a:effectLst/>
                <a:latin typeface="FreightSansLFPro Lig" panose="02000506030000020004" pitchFamily="50" charset="0"/>
                <a:cs typeface="FreightSansLFPro Lig" panose="02000506030000020004" pitchFamily="2" charset="77"/>
              </a:defRPr>
            </a:lvl1pPr>
          </a:lstStyle>
          <a:p>
            <a:pPr marL="317500" lvl="0" indent="-317500" rtl="0" fontAlgn="auto" hangingPunct="0">
              <a:spcBef>
                <a:spcPts val="0"/>
              </a:spcBef>
              <a:buSzTx/>
            </a:pPr>
            <a:r>
              <a:rPr lang="en-US" dirty="0"/>
              <a:t>Title</a:t>
            </a:r>
            <a:endParaRPr lang="en-GB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0119520A-2BFA-463D-84D7-2773BFEAD7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447800"/>
            <a:ext cx="10820400" cy="455294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3175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635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9525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27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62FAC19-15A7-4103-A09D-8D2526509612}"/>
              </a:ext>
            </a:extLst>
          </p:cNvPr>
          <p:cNvCxnSpPr/>
          <p:nvPr userDrawn="1"/>
        </p:nvCxnSpPr>
        <p:spPr>
          <a:xfrm>
            <a:off x="0" y="1050361"/>
            <a:ext cx="12192000" cy="0"/>
          </a:xfrm>
          <a:prstGeom prst="line">
            <a:avLst/>
          </a:prstGeom>
          <a:noFill/>
          <a:ln w="1905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A57F618-15B9-4C82-9675-54EE795B66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700" y="6074463"/>
            <a:ext cx="1612640" cy="42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7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48831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165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70825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0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3486" t="24765" r="8277" b="28474"/>
          <a:stretch/>
        </p:blipFill>
        <p:spPr>
          <a:xfrm>
            <a:off x="9108395" y="6021714"/>
            <a:ext cx="2858319" cy="799031"/>
          </a:xfrm>
          <a:prstGeom prst="rect">
            <a:avLst/>
          </a:prstGeom>
        </p:spPr>
      </p:pic>
      <p:pic>
        <p:nvPicPr>
          <p:cNvPr id="13" name="Picture 12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79F5D29D-1068-E442-854A-8034DF6499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510"/>
          <a:stretch/>
        </p:blipFill>
        <p:spPr>
          <a:xfrm>
            <a:off x="-8550" y="-1"/>
            <a:ext cx="12207838" cy="5019882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3537947C-2F19-EF41-BEDA-940C10B9EF35}"/>
              </a:ext>
            </a:extLst>
          </p:cNvPr>
          <p:cNvSpPr/>
          <p:nvPr/>
        </p:nvSpPr>
        <p:spPr>
          <a:xfrm>
            <a:off x="-33298" y="2807829"/>
            <a:ext cx="9961139" cy="2207005"/>
          </a:xfrm>
          <a:prstGeom prst="rtTriangle">
            <a:avLst/>
          </a:prstGeom>
          <a:solidFill>
            <a:schemeClr val="tx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dirty="0" err="1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8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343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0178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803445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26292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7816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37544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83442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1" hidden="1">
            <a:extLst>
              <a:ext uri="{FF2B5EF4-FFF2-40B4-BE49-F238E27FC236}">
                <a16:creationId xmlns:a16="http://schemas.microsoft.com/office/drawing/2014/main" id="{1D0156FE-1FA6-422F-AD71-489CAC3C89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3"/>
          <a:ext cx="324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61" hidden="1">
                        <a:extLst>
                          <a:ext uri="{FF2B5EF4-FFF2-40B4-BE49-F238E27FC236}">
                            <a16:creationId xmlns:a16="http://schemas.microsoft.com/office/drawing/2014/main" id="{1D0156FE-1FA6-422F-AD71-489CAC3C89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3"/>
                        <a:ext cx="3240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>
            <a:extLst>
              <a:ext uri="{FF2B5EF4-FFF2-40B4-BE49-F238E27FC236}">
                <a16:creationId xmlns:a16="http://schemas.microsoft.com/office/drawing/2014/main" id="{46113A4A-87A2-4E44-9636-B730A59B18EA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3" y="323952"/>
            <a:ext cx="3795119" cy="9419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612" b="1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>
            <a:extLst>
              <a:ext uri="{FF2B5EF4-FFF2-40B4-BE49-F238E27FC236}">
                <a16:creationId xmlns:a16="http://schemas.microsoft.com/office/drawing/2014/main" id="{4A61FD8C-07C9-4A18-BA26-3648B1696989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3" y="466487"/>
            <a:ext cx="3795119" cy="12634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sz="612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CA8AC9FF-4A7D-48A7-8D3E-3F247743820E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3" y="610645"/>
            <a:ext cx="3795119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sz="612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Document type" hidden="1">
            <a:extLst>
              <a:ext uri="{FF2B5EF4-FFF2-40B4-BE49-F238E27FC236}">
                <a16:creationId xmlns:a16="http://schemas.microsoft.com/office/drawing/2014/main" id="{E677A03E-511F-479B-BD43-2ABFC4889BF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9171" y="6383842"/>
            <a:ext cx="8048632" cy="16478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latin typeface="+mn-lt"/>
              </a:rPr>
              <a:t>Document type | Date</a:t>
            </a:r>
          </a:p>
        </p:txBody>
      </p:sp>
      <p:pic>
        <p:nvPicPr>
          <p:cNvPr id="9" name="Picture 600" descr="C:\Users\MYTHIL~1\AppData\Local\Temp\notes1FCF23\~b522205.TMP">
            <a:extLst>
              <a:ext uri="{FF2B5EF4-FFF2-40B4-BE49-F238E27FC236}">
                <a16:creationId xmlns:a16="http://schemas.microsoft.com/office/drawing/2014/main" id="{3E58F39C-04DF-4C06-897D-6A5A3EB937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8967041" y="6007636"/>
            <a:ext cx="3027348" cy="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oc id">
            <a:extLst>
              <a:ext uri="{FF2B5EF4-FFF2-40B4-BE49-F238E27FC236}">
                <a16:creationId xmlns:a16="http://schemas.microsoft.com/office/drawing/2014/main" id="{C032701B-ACE0-4A45-B959-CD9CE678A107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2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612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9" y="5070732"/>
            <a:ext cx="8050193" cy="376898"/>
          </a:xfrm>
          <a:prstGeom prst="rect">
            <a:avLst/>
          </a:prstGeom>
        </p:spPr>
        <p:txBody>
          <a:bodyPr/>
          <a:lstStyle>
            <a:lvl1pPr>
              <a:defRPr lang="x-none" sz="2449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9" y="5840685"/>
            <a:ext cx="8050193" cy="164789"/>
          </a:xfrm>
          <a:prstGeom prst="rect">
            <a:avLst/>
          </a:prstGeom>
        </p:spPr>
        <p:txBody>
          <a:bodyPr/>
          <a:lstStyle>
            <a:lvl1pPr>
              <a:defRPr lang="x-none" sz="1071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x-none" noProof="0" dirty="0"/>
          </a:p>
        </p:txBody>
      </p:sp>
      <p:pic>
        <p:nvPicPr>
          <p:cNvPr id="12" name="Picture 2" descr="Automotive in China : Best Marketing Strategies at the Digital Age -  Marketing China">
            <a:extLst>
              <a:ext uri="{FF2B5EF4-FFF2-40B4-BE49-F238E27FC236}">
                <a16:creationId xmlns:a16="http://schemas.microsoft.com/office/drawing/2014/main" id="{C1F59318-3A03-4851-8A1A-2BA86E187D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0" cy="5019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83041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image" Target="../media/image1.emf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1.emf"/><Relationship Id="rId5" Type="http://schemas.openxmlformats.org/officeDocument/2006/relationships/theme" Target="../theme/theme2.xml"/><Relationship Id="rId15" Type="http://schemas.openxmlformats.org/officeDocument/2006/relationships/tags" Target="../tags/tag31.xml"/><Relationship Id="rId23" Type="http://schemas.openxmlformats.org/officeDocument/2006/relationships/oleObject" Target="../embeddings/oleObject6.bin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58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image" Target="../media/image1.emf"/><Relationship Id="rId5" Type="http://schemas.openxmlformats.org/officeDocument/2006/relationships/theme" Target="../theme/theme3.xml"/><Relationship Id="rId15" Type="http://schemas.openxmlformats.org/officeDocument/2006/relationships/tags" Target="../tags/tag52.xml"/><Relationship Id="rId23" Type="http://schemas.openxmlformats.org/officeDocument/2006/relationships/oleObject" Target="../embeddings/oleObject11.bin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79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image" Target="../media/image1.emf"/><Relationship Id="rId5" Type="http://schemas.openxmlformats.org/officeDocument/2006/relationships/theme" Target="../theme/theme4.xml"/><Relationship Id="rId15" Type="http://schemas.openxmlformats.org/officeDocument/2006/relationships/tags" Target="../tags/tag73.xml"/><Relationship Id="rId23" Type="http://schemas.openxmlformats.org/officeDocument/2006/relationships/oleObject" Target="../embeddings/oleObject16.bin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12/08/2020 04:05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 dirty="0">
                <a:solidFill>
                  <a:srgbClr val="808080"/>
                </a:solidFill>
                <a:latin typeface="+mn-lt"/>
                <a:ea typeface="+mn-ea"/>
              </a:rPr>
              <a:t>Printed 25/07/2020 16:01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743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3808469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1722918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9FF8D031-226E-470F-9F60-DC9C3A140402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0"/>
          <a:ext cx="215431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9FF8D031-226E-470F-9F60-DC9C3A14040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5431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D318EA9-D86E-4951-940F-7F1E083D885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" y="0"/>
            <a:ext cx="215431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x-none" sz="1378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>
            <a:extLst>
              <a:ext uri="{FF2B5EF4-FFF2-40B4-BE49-F238E27FC236}">
                <a16:creationId xmlns:a16="http://schemas.microsoft.com/office/drawing/2014/main" id="{C7259E11-ECDC-430E-9DF4-77F31BAEF93C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386306" y="1991783"/>
            <a:ext cx="1420261" cy="706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459">
                <a:solidFill>
                  <a:srgbClr val="808080"/>
                </a:solidFill>
                <a:latin typeface="+mn-lt"/>
              </a:rPr>
              <a:t>Last Modified 12/08/2020 04:05 Arabian Standard Time</a:t>
            </a:r>
            <a:endParaRPr sz="1224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35" name="Printed" hidden="1">
            <a:extLst>
              <a:ext uri="{FF2B5EF4-FFF2-40B4-BE49-F238E27FC236}">
                <a16:creationId xmlns:a16="http://schemas.microsoft.com/office/drawing/2014/main" id="{0B8314B9-2EC1-46EC-BA53-F2AAE77FA0E8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467256" y="4210023"/>
            <a:ext cx="1258358" cy="706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459" dirty="0">
                <a:solidFill>
                  <a:srgbClr val="808080"/>
                </a:solidFill>
                <a:latin typeface="+mn-lt"/>
              </a:rPr>
              <a:t>Printed 25/07/2020 16:01 Arabian Standard Time</a:t>
            </a:r>
            <a:endParaRPr sz="1224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30" name="Title Placeholder 2">
            <a:extLst>
              <a:ext uri="{FF2B5EF4-FFF2-40B4-BE49-F238E27FC236}">
                <a16:creationId xmlns:a16="http://schemas.microsoft.com/office/drawing/2014/main" id="{D5858CA3-006E-48CD-9697-2616B9A4C0B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63597" y="234866"/>
            <a:ext cx="11725507" cy="23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" name="1. On-page tracker" hidden="1">
            <a:extLst>
              <a:ext uri="{FF2B5EF4-FFF2-40B4-BE49-F238E27FC236}">
                <a16:creationId xmlns:a16="http://schemas.microsoft.com/office/drawing/2014/main" id="{FFF8C9AC-91EA-420E-B9D9-45A7346725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1978" y="77750"/>
            <a:ext cx="375103" cy="9419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defRPr/>
            </a:pPr>
            <a:r>
              <a:rPr lang="x-none" sz="612" cap="all" dirty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>
            <a:extLst>
              <a:ext uri="{FF2B5EF4-FFF2-40B4-BE49-F238E27FC236}">
                <a16:creationId xmlns:a16="http://schemas.microsoft.com/office/drawing/2014/main" id="{9DF83520-4F72-4F1E-BF19-7928974431E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1977" y="566913"/>
            <a:ext cx="11725507" cy="18838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1224" dirty="0">
                <a:solidFill>
                  <a:schemeClr val="accent6"/>
                </a:solidFill>
                <a:latin typeface="+mn-lt"/>
              </a:rPr>
              <a:t>Unit of measure</a:t>
            </a:r>
          </a:p>
        </p:txBody>
      </p:sp>
      <p:sp>
        <p:nvSpPr>
          <p:cNvPr id="1033" name="Text Placeholder 2">
            <a:extLst>
              <a:ext uri="{FF2B5EF4-FFF2-40B4-BE49-F238E27FC236}">
                <a16:creationId xmlns:a16="http://schemas.microsoft.com/office/drawing/2014/main" id="{B89FD19F-7CB1-4D60-A0C7-9A8761BB47D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2696916" y="2716314"/>
            <a:ext cx="5852224" cy="94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2" name="ACET" hidden="1">
            <a:extLst>
              <a:ext uri="{FF2B5EF4-FFF2-40B4-BE49-F238E27FC236}">
                <a16:creationId xmlns:a16="http://schemas.microsoft.com/office/drawing/2014/main" id="{F817BD6E-8DD5-4EAD-8817-9F90D32AD133}"/>
              </a:ext>
            </a:extLst>
          </p:cNvPr>
          <p:cNvGrpSpPr>
            <a:grpSpLocks/>
          </p:cNvGrpSpPr>
          <p:nvPr/>
        </p:nvGrpSpPr>
        <p:grpSpPr bwMode="auto">
          <a:xfrm>
            <a:off x="2696918" y="2131586"/>
            <a:ext cx="5800391" cy="395218"/>
            <a:chOff x="915" y="786"/>
            <a:chExt cx="2686" cy="244"/>
          </a:xfrm>
        </p:grpSpPr>
        <p:cxnSp>
          <p:nvCxnSpPr>
            <p:cNvPr id="16" name="AutoShape 249">
              <a:extLst>
                <a:ext uri="{FF2B5EF4-FFF2-40B4-BE49-F238E27FC236}">
                  <a16:creationId xmlns:a16="http://schemas.microsoft.com/office/drawing/2014/main" id="{913CB5D6-B34C-4606-AB45-91AB0DA8DD23}"/>
                </a:ext>
              </a:extLst>
            </p:cNvPr>
            <p:cNvCxnSpPr>
              <a:cxnSpLocks noChangeShapeType="1"/>
              <a:stCxn id="1084" idx="4"/>
              <a:endCxn id="108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084" name="AutoShape 250">
              <a:extLst>
                <a:ext uri="{FF2B5EF4-FFF2-40B4-BE49-F238E27FC236}">
                  <a16:creationId xmlns:a16="http://schemas.microsoft.com/office/drawing/2014/main" id="{70ABAAB5-350D-482B-9E77-E69A9F9D6A0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24" b="1">
                  <a:solidFill>
                    <a:srgbClr val="000000"/>
                  </a:solidFill>
                </a:rPr>
                <a:t>Title</a:t>
              </a:r>
            </a:p>
            <a:p>
              <a:pPr eaLnBrk="1" hangingPunct="1"/>
              <a:r>
                <a:rPr lang="en-US" altLang="en-US" sz="1224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6A224837-959C-44AA-8580-A112EE6C0741}"/>
              </a:ext>
            </a:extLst>
          </p:cNvPr>
          <p:cNvSpPr/>
          <p:nvPr/>
        </p:nvSpPr>
        <p:spPr bwMode="ltGray">
          <a:xfrm>
            <a:off x="1" y="6559969"/>
            <a:ext cx="12192000" cy="298033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78" dirty="0">
              <a:solidFill>
                <a:schemeClr val="tx1"/>
              </a:solidFill>
            </a:endParaRPr>
          </a:p>
        </p:txBody>
      </p:sp>
      <p:sp>
        <p:nvSpPr>
          <p:cNvPr id="66" name="Slide Number">
            <a:extLst>
              <a:ext uri="{FF2B5EF4-FFF2-40B4-BE49-F238E27FC236}">
                <a16:creationId xmlns:a16="http://schemas.microsoft.com/office/drawing/2014/main" id="{F67570E3-BDEB-49D7-891A-637C7727A36A}"/>
              </a:ext>
            </a:extLst>
          </p:cNvPr>
          <p:cNvSpPr txBox="1">
            <a:spLocks/>
          </p:cNvSpPr>
          <p:nvPr/>
        </p:nvSpPr>
        <p:spPr bwMode="ltGray">
          <a:xfrm>
            <a:off x="11792907" y="6656221"/>
            <a:ext cx="94578" cy="9419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eaLnBrk="1" hangingPunct="1">
              <a:defRPr/>
            </a:pPr>
            <a:fld id="{3679DDE6-B5EE-4C40-8E11-E90D274B560C}" type="slidenum">
              <a:rPr sz="612" smtClean="0">
                <a:solidFill>
                  <a:schemeClr val="bg1"/>
                </a:solidFill>
              </a:rPr>
              <a:pPr algn="r" eaLnBrk="1" hangingPunct="1">
                <a:defRPr/>
              </a:pPr>
              <a:t>‹#›</a:t>
            </a:fld>
            <a:endParaRPr sz="612" dirty="0">
              <a:solidFill>
                <a:schemeClr val="bg1"/>
              </a:solidFill>
            </a:endParaRPr>
          </a:p>
        </p:txBody>
      </p:sp>
      <p:grpSp>
        <p:nvGrpSpPr>
          <p:cNvPr id="1037" name="Slide Elements" hidden="1">
            <a:extLst>
              <a:ext uri="{FF2B5EF4-FFF2-40B4-BE49-F238E27FC236}">
                <a16:creationId xmlns:a16="http://schemas.microsoft.com/office/drawing/2014/main" id="{2B94344E-F7D7-44E6-8301-B813A13CA58E}"/>
              </a:ext>
            </a:extLst>
          </p:cNvPr>
          <p:cNvGrpSpPr>
            <a:grpSpLocks/>
          </p:cNvGrpSpPr>
          <p:nvPr/>
        </p:nvGrpSpPr>
        <p:grpSpPr bwMode="auto">
          <a:xfrm>
            <a:off x="161977" y="6410696"/>
            <a:ext cx="11725507" cy="339354"/>
            <a:chOff x="119063" y="6282614"/>
            <a:chExt cx="8618537" cy="333082"/>
          </a:xfrm>
        </p:grpSpPr>
        <p:sp>
          <p:nvSpPr>
            <p:cNvPr id="13" name="4. Footnote">
              <a:extLst>
                <a:ext uri="{FF2B5EF4-FFF2-40B4-BE49-F238E27FC236}">
                  <a16:creationId xmlns:a16="http://schemas.microsoft.com/office/drawing/2014/main" id="{9DA9715B-68FB-4940-893E-821B8DEF825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282614"/>
              <a:ext cx="8618537" cy="9245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4385" indent="-64385" eaLnBrk="1" hangingPunct="1">
                <a:defRPr lang="x-none"/>
              </a:pPr>
              <a:r>
                <a:rPr sz="612" dirty="0">
                  <a:solidFill>
                    <a:srgbClr val="808080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1082" name="5. Source">
              <a:extLst>
                <a:ext uri="{FF2B5EF4-FFF2-40B4-BE49-F238E27FC236}">
                  <a16:creationId xmlns:a16="http://schemas.microsoft.com/office/drawing/2014/main" id="{A5B35EE3-8C50-45FB-B2B7-6D615F9F88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23244"/>
              <a:ext cx="7690797" cy="924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514350" indent="-5143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612">
                  <a:solidFill>
                    <a:schemeClr val="bg1"/>
                  </a:solidFill>
                </a:rPr>
                <a:t>SOURCE: Source</a:t>
              </a:r>
            </a:p>
          </p:txBody>
        </p:sp>
      </p:grpSp>
      <p:grpSp>
        <p:nvGrpSpPr>
          <p:cNvPr id="1038" name="LegendBoxes" hidden="1">
            <a:extLst>
              <a:ext uri="{FF2B5EF4-FFF2-40B4-BE49-F238E27FC236}">
                <a16:creationId xmlns:a16="http://schemas.microsoft.com/office/drawing/2014/main" id="{41C58506-2218-409D-BF6E-10CD077D9B18}"/>
              </a:ext>
            </a:extLst>
          </p:cNvPr>
          <p:cNvGrpSpPr>
            <a:grpSpLocks/>
          </p:cNvGrpSpPr>
          <p:nvPr/>
        </p:nvGrpSpPr>
        <p:grpSpPr bwMode="auto">
          <a:xfrm>
            <a:off x="11108376" y="275359"/>
            <a:ext cx="652767" cy="1004243"/>
            <a:chOff x="4936" y="176"/>
            <a:chExt cx="403" cy="620"/>
          </a:xfrm>
        </p:grpSpPr>
        <p:sp>
          <p:nvSpPr>
            <p:cNvPr id="1073" name="Legend1">
              <a:extLst>
                <a:ext uri="{FF2B5EF4-FFF2-40B4-BE49-F238E27FC236}">
                  <a16:creationId xmlns:a16="http://schemas.microsoft.com/office/drawing/2014/main" id="{A28C5F16-9E32-43C2-8CF5-895C3A4398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74" name="LegendRectangle1">
              <a:extLst>
                <a:ext uri="{FF2B5EF4-FFF2-40B4-BE49-F238E27FC236}">
                  <a16:creationId xmlns:a16="http://schemas.microsoft.com/office/drawing/2014/main" id="{627979D1-219D-4ABD-9758-832C8A159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918"/>
            </a:p>
          </p:txBody>
        </p:sp>
        <p:sp>
          <p:nvSpPr>
            <p:cNvPr id="1075" name="Legend2">
              <a:extLst>
                <a:ext uri="{FF2B5EF4-FFF2-40B4-BE49-F238E27FC236}">
                  <a16:creationId xmlns:a16="http://schemas.microsoft.com/office/drawing/2014/main" id="{C4A7B277-6ABB-479C-BFDE-D86D54589E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76" name="LegendRectangle2">
              <a:extLst>
                <a:ext uri="{FF2B5EF4-FFF2-40B4-BE49-F238E27FC236}">
                  <a16:creationId xmlns:a16="http://schemas.microsoft.com/office/drawing/2014/main" id="{00A0A0F0-F015-42CE-B4B8-61494889CE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918"/>
            </a:p>
          </p:txBody>
        </p:sp>
        <p:sp>
          <p:nvSpPr>
            <p:cNvPr id="1077" name="Legend3">
              <a:extLst>
                <a:ext uri="{FF2B5EF4-FFF2-40B4-BE49-F238E27FC236}">
                  <a16:creationId xmlns:a16="http://schemas.microsoft.com/office/drawing/2014/main" id="{E7524FFC-8C27-4958-A81B-2A0961828E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78" name="LegendRectangle3">
              <a:extLst>
                <a:ext uri="{FF2B5EF4-FFF2-40B4-BE49-F238E27FC236}">
                  <a16:creationId xmlns:a16="http://schemas.microsoft.com/office/drawing/2014/main" id="{45315034-D1A4-44C5-9ACA-1D3C7315F4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918"/>
            </a:p>
          </p:txBody>
        </p:sp>
        <p:sp>
          <p:nvSpPr>
            <p:cNvPr id="1079" name="Legend4">
              <a:extLst>
                <a:ext uri="{FF2B5EF4-FFF2-40B4-BE49-F238E27FC236}">
                  <a16:creationId xmlns:a16="http://schemas.microsoft.com/office/drawing/2014/main" id="{B4C65ACD-7CDA-4ED2-9B8D-985AF0F1B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80" name="LegendRectangle4">
              <a:extLst>
                <a:ext uri="{FF2B5EF4-FFF2-40B4-BE49-F238E27FC236}">
                  <a16:creationId xmlns:a16="http://schemas.microsoft.com/office/drawing/2014/main" id="{274C08DB-3C80-44FA-9A1F-3671D6140E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918"/>
            </a:p>
          </p:txBody>
        </p:sp>
      </p:grpSp>
      <p:grpSp>
        <p:nvGrpSpPr>
          <p:cNvPr id="1039" name="LegendLines" hidden="1">
            <a:extLst>
              <a:ext uri="{FF2B5EF4-FFF2-40B4-BE49-F238E27FC236}">
                <a16:creationId xmlns:a16="http://schemas.microsoft.com/office/drawing/2014/main" id="{FDD9B37A-F6B1-442F-AD96-53A7DC0F2A42}"/>
              </a:ext>
            </a:extLst>
          </p:cNvPr>
          <p:cNvGrpSpPr>
            <a:grpSpLocks/>
          </p:cNvGrpSpPr>
          <p:nvPr/>
        </p:nvGrpSpPr>
        <p:grpSpPr bwMode="auto">
          <a:xfrm>
            <a:off x="10794138" y="275357"/>
            <a:ext cx="967003" cy="698110"/>
            <a:chOff x="4750" y="176"/>
            <a:chExt cx="597" cy="431"/>
          </a:xfrm>
        </p:grpSpPr>
        <p:sp>
          <p:nvSpPr>
            <p:cNvPr id="77" name="LineLegend1">
              <a:extLst>
                <a:ext uri="{FF2B5EF4-FFF2-40B4-BE49-F238E27FC236}">
                  <a16:creationId xmlns:a16="http://schemas.microsoft.com/office/drawing/2014/main" id="{D9D2F5DF-78D5-47B0-9E44-71E8F9BAFD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918" dirty="0">
                <a:latin typeface="+mn-lt"/>
              </a:endParaRPr>
            </a:p>
          </p:txBody>
        </p:sp>
        <p:sp>
          <p:nvSpPr>
            <p:cNvPr id="78" name="LineLegend2">
              <a:extLst>
                <a:ext uri="{FF2B5EF4-FFF2-40B4-BE49-F238E27FC236}">
                  <a16:creationId xmlns:a16="http://schemas.microsoft.com/office/drawing/2014/main" id="{B0E7546D-81A4-40D3-A00D-02B3112AE6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918" dirty="0">
                <a:latin typeface="+mn-lt"/>
              </a:endParaRPr>
            </a:p>
          </p:txBody>
        </p:sp>
        <p:sp>
          <p:nvSpPr>
            <p:cNvPr id="79" name="LineLegend3">
              <a:extLst>
                <a:ext uri="{FF2B5EF4-FFF2-40B4-BE49-F238E27FC236}">
                  <a16:creationId xmlns:a16="http://schemas.microsoft.com/office/drawing/2014/main" id="{F3539309-FA2B-46CE-899C-1382AC0020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918" dirty="0">
                <a:latin typeface="+mn-lt"/>
              </a:endParaRPr>
            </a:p>
          </p:txBody>
        </p:sp>
        <p:sp>
          <p:nvSpPr>
            <p:cNvPr id="1070" name="Legend1">
              <a:extLst>
                <a:ext uri="{FF2B5EF4-FFF2-40B4-BE49-F238E27FC236}">
                  <a16:creationId xmlns:a16="http://schemas.microsoft.com/office/drawing/2014/main" id="{CB1C1E73-7A79-4161-A1D9-4EA4D2196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71" name="Legend2">
              <a:extLst>
                <a:ext uri="{FF2B5EF4-FFF2-40B4-BE49-F238E27FC236}">
                  <a16:creationId xmlns:a16="http://schemas.microsoft.com/office/drawing/2014/main" id="{6F0CD916-37D0-44A8-81FA-236B25F07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72" name="Legend3">
              <a:extLst>
                <a:ext uri="{FF2B5EF4-FFF2-40B4-BE49-F238E27FC236}">
                  <a16:creationId xmlns:a16="http://schemas.microsoft.com/office/drawing/2014/main" id="{2F74E955-B096-4F9C-9FBB-B41A41FAE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</p:grpSp>
      <p:grpSp>
        <p:nvGrpSpPr>
          <p:cNvPr id="1040" name="McKSticker" hidden="1">
            <a:extLst>
              <a:ext uri="{FF2B5EF4-FFF2-40B4-BE49-F238E27FC236}">
                <a16:creationId xmlns:a16="http://schemas.microsoft.com/office/drawing/2014/main" id="{D039EBCF-9D9D-4AD6-A825-2327BD5C0D60}"/>
              </a:ext>
            </a:extLst>
          </p:cNvPr>
          <p:cNvGrpSpPr>
            <a:grpSpLocks/>
          </p:cNvGrpSpPr>
          <p:nvPr/>
        </p:nvGrpSpPr>
        <p:grpSpPr bwMode="auto">
          <a:xfrm>
            <a:off x="11325989" y="275358"/>
            <a:ext cx="561499" cy="121893"/>
            <a:chOff x="8190828" y="285750"/>
            <a:chExt cx="549947" cy="119465"/>
          </a:xfrm>
        </p:grpSpPr>
        <p:sp>
          <p:nvSpPr>
            <p:cNvPr id="1064" name="StickerRectangle">
              <a:extLst>
                <a:ext uri="{FF2B5EF4-FFF2-40B4-BE49-F238E27FC236}">
                  <a16:creationId xmlns:a16="http://schemas.microsoft.com/office/drawing/2014/main" id="{5F2CC263-EA00-4EED-A537-2784DDCC1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0828" y="285750"/>
              <a:ext cx="549947" cy="1194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chemeClr val="tx2"/>
                </a:buClr>
              </a:pPr>
              <a:r>
                <a:rPr lang="en-US" altLang="en-US" sz="612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5" name="AutoShape 31">
              <a:extLst>
                <a:ext uri="{FF2B5EF4-FFF2-40B4-BE49-F238E27FC236}">
                  <a16:creationId xmlns:a16="http://schemas.microsoft.com/office/drawing/2014/main" id="{6B47BE6C-DA75-4026-9160-DDA95FCB9364}"/>
                </a:ext>
              </a:extLst>
            </p:cNvPr>
            <p:cNvCxnSpPr>
              <a:cxnSpLocks noChangeShapeType="1"/>
              <a:stCxn id="1064" idx="2"/>
              <a:endCxn id="1064" idx="4"/>
            </p:cNvCxnSpPr>
            <p:nvPr/>
          </p:nvCxnSpPr>
          <p:spPr bwMode="auto">
            <a:xfrm>
              <a:off x="8190828" y="285750"/>
              <a:ext cx="0" cy="1194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6" name="AutoShape 32">
              <a:extLst>
                <a:ext uri="{FF2B5EF4-FFF2-40B4-BE49-F238E27FC236}">
                  <a16:creationId xmlns:a16="http://schemas.microsoft.com/office/drawing/2014/main" id="{90F4E8DA-59C1-49A9-B0DB-ABF8AFD83475}"/>
                </a:ext>
              </a:extLst>
            </p:cNvPr>
            <p:cNvCxnSpPr>
              <a:cxnSpLocks noChangeShapeType="1"/>
              <a:stCxn id="1064" idx="4"/>
              <a:endCxn id="1064" idx="6"/>
            </p:cNvCxnSpPr>
            <p:nvPr/>
          </p:nvCxnSpPr>
          <p:spPr bwMode="auto">
            <a:xfrm>
              <a:off x="8190828" y="405215"/>
              <a:ext cx="54994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1" name="LegendMoons" hidden="1">
            <a:extLst>
              <a:ext uri="{FF2B5EF4-FFF2-40B4-BE49-F238E27FC236}">
                <a16:creationId xmlns:a16="http://schemas.microsoft.com/office/drawing/2014/main" id="{255DE97A-6470-402C-8A4F-63FB36A83CE3}"/>
              </a:ext>
            </a:extLst>
          </p:cNvPr>
          <p:cNvGrpSpPr>
            <a:grpSpLocks/>
          </p:cNvGrpSpPr>
          <p:nvPr/>
        </p:nvGrpSpPr>
        <p:grpSpPr bwMode="auto">
          <a:xfrm>
            <a:off x="11040347" y="275359"/>
            <a:ext cx="721467" cy="1333051"/>
            <a:chOff x="6655594" y="273840"/>
            <a:chExt cx="707237" cy="1306516"/>
          </a:xfrm>
        </p:grpSpPr>
        <p:grpSp>
          <p:nvGrpSpPr>
            <p:cNvPr id="1044" name="MoonLegend1">
              <a:extLst>
                <a:ext uri="{FF2B5EF4-FFF2-40B4-BE49-F238E27FC236}">
                  <a16:creationId xmlns:a16="http://schemas.microsoft.com/office/drawing/2014/main" id="{BD834EF6-0C08-49F2-92B8-3D0A66E24867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>
                <a:extLst>
                  <a:ext uri="{FF2B5EF4-FFF2-40B4-BE49-F238E27FC236}">
                    <a16:creationId xmlns:a16="http://schemas.microsoft.com/office/drawing/2014/main" id="{D00DDFED-F439-4296-B0D0-6F62C4E7D8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  <p:sp>
            <p:nvSpPr>
              <p:cNvPr id="107" name="Arc 39">
                <a:extLst>
                  <a:ext uri="{FF2B5EF4-FFF2-40B4-BE49-F238E27FC236}">
                    <a16:creationId xmlns:a16="http://schemas.microsoft.com/office/drawing/2014/main" id="{11C671BA-3B98-4B5E-9AD7-99C8152454FE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</p:grpSp>
        <p:grpSp>
          <p:nvGrpSpPr>
            <p:cNvPr id="1045" name="MoonLegend2">
              <a:extLst>
                <a:ext uri="{FF2B5EF4-FFF2-40B4-BE49-F238E27FC236}">
                  <a16:creationId xmlns:a16="http://schemas.microsoft.com/office/drawing/2014/main" id="{2ACCD905-7396-43AD-AFAE-888375B75A65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>
                <a:extLst>
                  <a:ext uri="{FF2B5EF4-FFF2-40B4-BE49-F238E27FC236}">
                    <a16:creationId xmlns:a16="http://schemas.microsoft.com/office/drawing/2014/main" id="{6AA8E5EB-570C-4E89-8871-E9A05FE51E0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  <p:sp>
            <p:nvSpPr>
              <p:cNvPr id="105" name="Arc 42">
                <a:extLst>
                  <a:ext uri="{FF2B5EF4-FFF2-40B4-BE49-F238E27FC236}">
                    <a16:creationId xmlns:a16="http://schemas.microsoft.com/office/drawing/2014/main" id="{6BDC4973-CDE3-4229-8A7C-087B248F2AF2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</p:grpSp>
        <p:grpSp>
          <p:nvGrpSpPr>
            <p:cNvPr id="1046" name="MoonLegend4">
              <a:extLst>
                <a:ext uri="{FF2B5EF4-FFF2-40B4-BE49-F238E27FC236}">
                  <a16:creationId xmlns:a16="http://schemas.microsoft.com/office/drawing/2014/main" id="{EF20ED43-6498-44EA-99A3-89E9A7884648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>
                <a:extLst>
                  <a:ext uri="{FF2B5EF4-FFF2-40B4-BE49-F238E27FC236}">
                    <a16:creationId xmlns:a16="http://schemas.microsoft.com/office/drawing/2014/main" id="{D20B126D-61F1-41E6-AAEF-3C4603FE08E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  <p:sp>
            <p:nvSpPr>
              <p:cNvPr id="103" name="Arc 48">
                <a:extLst>
                  <a:ext uri="{FF2B5EF4-FFF2-40B4-BE49-F238E27FC236}">
                    <a16:creationId xmlns:a16="http://schemas.microsoft.com/office/drawing/2014/main" id="{34283839-82A8-446B-AC13-E5BF69BD9550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</p:grpSp>
        <p:grpSp>
          <p:nvGrpSpPr>
            <p:cNvPr id="1047" name="MoonLegend5">
              <a:extLst>
                <a:ext uri="{FF2B5EF4-FFF2-40B4-BE49-F238E27FC236}">
                  <a16:creationId xmlns:a16="http://schemas.microsoft.com/office/drawing/2014/main" id="{04CA37E1-3E95-4036-B99F-D9896B4F30A9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>
                <a:extLst>
                  <a:ext uri="{FF2B5EF4-FFF2-40B4-BE49-F238E27FC236}">
                    <a16:creationId xmlns:a16="http://schemas.microsoft.com/office/drawing/2014/main" id="{84F7AE59-C53B-483D-B5B9-1FB8239FCA8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  <p:sp>
            <p:nvSpPr>
              <p:cNvPr id="101" name="Oval 51">
                <a:extLst>
                  <a:ext uri="{FF2B5EF4-FFF2-40B4-BE49-F238E27FC236}">
                    <a16:creationId xmlns:a16="http://schemas.microsoft.com/office/drawing/2014/main" id="{824849FE-8529-4FB2-948A-09416576A65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</p:grpSp>
        <p:sp>
          <p:nvSpPr>
            <p:cNvPr id="1048" name="Legend1">
              <a:extLst>
                <a:ext uri="{FF2B5EF4-FFF2-40B4-BE49-F238E27FC236}">
                  <a16:creationId xmlns:a16="http://schemas.microsoft.com/office/drawing/2014/main" id="{FE02FC28-6F8F-48DA-8C3D-03B155EE2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70" y="286540"/>
              <a:ext cx="38656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49" name="Legend2">
              <a:extLst>
                <a:ext uri="{FF2B5EF4-FFF2-40B4-BE49-F238E27FC236}">
                  <a16:creationId xmlns:a16="http://schemas.microsoft.com/office/drawing/2014/main" id="{7E48C3DA-4361-4888-8DB4-FE7AACDD45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70" y="561178"/>
              <a:ext cx="38656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50" name="Legend3">
              <a:extLst>
                <a:ext uri="{FF2B5EF4-FFF2-40B4-BE49-F238E27FC236}">
                  <a16:creationId xmlns:a16="http://schemas.microsoft.com/office/drawing/2014/main" id="{EA900A3B-F820-41A1-BBAA-1DC46F569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70" y="835817"/>
              <a:ext cx="38656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51" name="Legend4">
              <a:extLst>
                <a:ext uri="{FF2B5EF4-FFF2-40B4-BE49-F238E27FC236}">
                  <a16:creationId xmlns:a16="http://schemas.microsoft.com/office/drawing/2014/main" id="{DAF3F4D1-D7DC-49F2-A5B6-B392ABCE43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70" y="1107280"/>
              <a:ext cx="38656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52" name="Legend5">
              <a:extLst>
                <a:ext uri="{FF2B5EF4-FFF2-40B4-BE49-F238E27FC236}">
                  <a16:creationId xmlns:a16="http://schemas.microsoft.com/office/drawing/2014/main" id="{A801E10B-71A5-458D-9497-3B6F5EB5F9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70" y="1383505"/>
              <a:ext cx="38656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grpSp>
          <p:nvGrpSpPr>
            <p:cNvPr id="1053" name="MoonLegend3">
              <a:extLst>
                <a:ext uri="{FF2B5EF4-FFF2-40B4-BE49-F238E27FC236}">
                  <a16:creationId xmlns:a16="http://schemas.microsoft.com/office/drawing/2014/main" id="{4AD79D31-3C1A-4618-B507-649DBD34E9D2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>
                <a:extLst>
                  <a:ext uri="{FF2B5EF4-FFF2-40B4-BE49-F238E27FC236}">
                    <a16:creationId xmlns:a16="http://schemas.microsoft.com/office/drawing/2014/main" id="{38B785D0-2EC9-4079-92D6-AA82A95764C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  <p:sp>
            <p:nvSpPr>
              <p:cNvPr id="99" name="Arc 48">
                <a:extLst>
                  <a:ext uri="{FF2B5EF4-FFF2-40B4-BE49-F238E27FC236}">
                    <a16:creationId xmlns:a16="http://schemas.microsoft.com/office/drawing/2014/main" id="{8A3490E9-36E3-4F25-BE04-71A330495EFE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</p:grpSp>
      </p:grpSp>
      <p:sp>
        <p:nvSpPr>
          <p:cNvPr id="61" name="doc id">
            <a:extLst>
              <a:ext uri="{FF2B5EF4-FFF2-40B4-BE49-F238E27FC236}">
                <a16:creationId xmlns:a16="http://schemas.microsoft.com/office/drawing/2014/main" id="{D11FD9C5-5D54-4AE2-9E1A-2E6AC6420192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2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612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043" name="Picture 606" descr="Image result for al futtaim logo">
            <a:extLst>
              <a:ext uri="{FF2B5EF4-FFF2-40B4-BE49-F238E27FC236}">
                <a16:creationId xmlns:a16="http://schemas.microsoft.com/office/drawing/2014/main" id="{B34152D8-9FBA-4058-93C7-90C59799B2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3016" y="6634477"/>
            <a:ext cx="719177" cy="149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78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lang="x-none" sz="1531">
          <a:solidFill>
            <a:schemeClr val="tx2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lang="x-none" sz="153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lang="x-none" sz="153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lang="x-none" sz="153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lang="x-none" sz="153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lang="x-none"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lang="x-none"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lang="x-none"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lang="x-none" sz="1454" b="1">
          <a:solidFill>
            <a:schemeClr val="tx2"/>
          </a:solidFill>
          <a:latin typeface="Arial" charset="0"/>
        </a:defRPr>
      </a:lvl9pPr>
    </p:titleStyle>
    <p:bodyStyle>
      <a:lvl1pPr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224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224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224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224">
          <a:solidFill>
            <a:schemeClr val="tx1"/>
          </a:solidFill>
          <a:latin typeface="+mn-lt"/>
        </a:defRPr>
      </a:lvl4pPr>
      <a:lvl5pPr marL="573383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224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24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24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24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24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3574" y="1980022"/>
            <a:ext cx="19268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42572" y="4198003"/>
            <a:ext cx="170880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72"/>
            <a:ext cx="11725484" cy="314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9" y="77309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45"/>
            <a:ext cx="11725484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9"/>
            <a:ext cx="5853024" cy="125579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2004795"/>
            <a:ext cx="5801188" cy="52155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9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9233" y="6640505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80093"/>
            <a:ext cx="11725484" cy="385963"/>
            <a:chOff x="119063" y="6252715"/>
            <a:chExt cx="8618537" cy="37827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2715"/>
              <a:ext cx="8618537" cy="1230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3" indent="-85843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947"/>
              <a:ext cx="7690797" cy="1230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64" indent="-524764" defTabSz="913481">
                <a:tabLst>
                  <a:tab pos="625183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83" y="275438"/>
            <a:ext cx="788832" cy="1017202"/>
            <a:chOff x="4936" y="176"/>
            <a:chExt cx="487" cy="628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5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41" y="275445"/>
            <a:ext cx="1103068" cy="745084"/>
            <a:chOff x="4750" y="176"/>
            <a:chExt cx="681" cy="460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49646" y="275443"/>
            <a:ext cx="737830" cy="153247"/>
            <a:chOff x="8017646" y="285750"/>
            <a:chExt cx="723129" cy="15019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17646" y="285750"/>
              <a:ext cx="723129" cy="15019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81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17646" y="285750"/>
              <a:ext cx="0" cy="15019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17646" y="435947"/>
              <a:ext cx="7231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54" y="275438"/>
            <a:ext cx="856184" cy="1333054"/>
            <a:chOff x="6655594" y="273840"/>
            <a:chExt cx="839127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8452" cy="184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8452" cy="184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8452" cy="184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8452" cy="184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8452" cy="184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22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30" y="6587864"/>
            <a:ext cx="1042273" cy="217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580994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</p:sldLayoutIdLst>
  <p:hf hdr="0" ftr="0" dt="0"/>
  <p:txStyles>
    <p:titleStyle>
      <a:lvl1pPr algn="l" defTabSz="913481" rtl="0" eaLnBrk="1" fontAlgn="base" hangingPunct="1">
        <a:spcBef>
          <a:spcPct val="0"/>
        </a:spcBef>
        <a:spcAft>
          <a:spcPct val="0"/>
        </a:spcAft>
        <a:tabLst>
          <a:tab pos="275340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2pPr>
      <a:lvl3pPr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3pPr>
      <a:lvl4pPr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4pPr>
      <a:lvl5pPr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5pPr>
      <a:lvl6pPr marL="466459"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6pPr>
      <a:lvl7pPr marL="932917"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7pPr>
      <a:lvl8pPr marL="1399373"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8pPr>
      <a:lvl9pPr marL="1865832"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8" indent="-195978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59" indent="-267241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04" indent="-158727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4992" indent="-132813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4992" indent="-132813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4992" indent="-132813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4992" indent="-132813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4992" indent="-132813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66459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32917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399373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65832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332291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798747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65205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731663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700" cy="22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00" cy="36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title"/>
          </p:nvPr>
        </p:nvSpPr>
        <p:spPr>
          <a:xfrm>
            <a:off x="717532" y="465801"/>
            <a:ext cx="10745400" cy="8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body" idx="1"/>
          </p:nvPr>
        </p:nvSpPr>
        <p:spPr>
          <a:xfrm>
            <a:off x="717532" y="1562101"/>
            <a:ext cx="10745400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68300" algn="l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914400" marR="0" lvl="1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−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1371600" marR="0" lvl="2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1828800" marR="0" lvl="3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2286000" marR="0" lvl="4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2743200" marR="0" lvl="5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3200400" marR="0" lvl="6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3657600" marR="0" lvl="7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4114800" marR="0" lvl="8" indent="-368300" algn="l" rtl="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026283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452">
          <p15:clr>
            <a:srgbClr val="A4A3A4"/>
          </p15:clr>
        </p15:guide>
        <p15:guide id="2" orient="horz" pos="2160">
          <p15:clr>
            <a:srgbClr val="F26B43"/>
          </p15:clr>
        </p15:guide>
        <p15:guide id="3" pos="7221">
          <p15:clr>
            <a:srgbClr val="A4A3A4"/>
          </p15:clr>
        </p15:guide>
        <p15:guide id="4" orient="horz" pos="984">
          <p15:clr>
            <a:srgbClr val="F26B43"/>
          </p15:clr>
        </p15:guide>
        <p15:guide id="5" orient="horz" pos="3912">
          <p15:clr>
            <a:srgbClr val="A4A3A4"/>
          </p15:clr>
        </p15:guide>
        <p15:guide id="6" pos="3840">
          <p15:clr>
            <a:srgbClr val="A4A3A4"/>
          </p15:clr>
        </p15:guide>
        <p15:guide id="7" orient="horz" pos="3768">
          <p15:clr>
            <a:srgbClr val="A4A3A4"/>
          </p15:clr>
        </p15:guide>
        <p15:guide id="8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g"/><Relationship Id="rId3" Type="http://schemas.openxmlformats.org/officeDocument/2006/relationships/image" Target="../media/image28.png"/><Relationship Id="rId7" Type="http://schemas.openxmlformats.org/officeDocument/2006/relationships/image" Target="../media/image32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5EBBEC2F-954A-4E22-B806-60F2DEAD5CA5}"/>
              </a:ext>
            </a:extLst>
          </p:cNvPr>
          <p:cNvSpPr/>
          <p:nvPr/>
        </p:nvSpPr>
        <p:spPr>
          <a:xfrm flipH="1">
            <a:off x="91" y="3782105"/>
            <a:ext cx="12191821" cy="1237485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2" descr="Automotive in China : Best Marketing Strategies at the Digital Age -  Marketing China">
            <a:extLst>
              <a:ext uri="{FF2B5EF4-FFF2-40B4-BE49-F238E27FC236}">
                <a16:creationId xmlns:a16="http://schemas.microsoft.com/office/drawing/2014/main" id="{80FFA544-881A-45BD-9610-C7FBC2A82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" y="1"/>
            <a:ext cx="12191821" cy="5019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6CCD7F97-107D-4BC6-8338-D82086871C51}"/>
              </a:ext>
            </a:extLst>
          </p:cNvPr>
          <p:cNvSpPr/>
          <p:nvPr/>
        </p:nvSpPr>
        <p:spPr>
          <a:xfrm flipH="1">
            <a:off x="0" y="3631719"/>
            <a:ext cx="12191820" cy="1387871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0997AD-803C-4A3B-9D43-A11F2E0F49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949" y="5238664"/>
            <a:ext cx="8458946" cy="69083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/>
              <a:t>CPM &amp; IDP campaign/plan</a:t>
            </a:r>
            <a:br>
              <a:rPr lang="en-US" dirty="0"/>
            </a:br>
            <a:endParaRPr lang="en-US" sz="1224" dirty="0"/>
          </a:p>
        </p:txBody>
      </p:sp>
      <p:pic>
        <p:nvPicPr>
          <p:cNvPr id="9" name="Picture 8" descr="Three university student women talking and smiling while seated">
            <a:extLst>
              <a:ext uri="{FF2B5EF4-FFF2-40B4-BE49-F238E27FC236}">
                <a16:creationId xmlns:a16="http://schemas.microsoft.com/office/drawing/2014/main" id="{9F43D852-21A0-E928-5B7D-96412C28D80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450"/>
          <a:stretch/>
        </p:blipFill>
        <p:spPr>
          <a:xfrm>
            <a:off x="-92" y="-1"/>
            <a:ext cx="4759871" cy="5019589"/>
          </a:xfrm>
          <a:prstGeom prst="rect">
            <a:avLst/>
          </a:prstGeom>
        </p:spPr>
      </p:pic>
      <p:pic>
        <p:nvPicPr>
          <p:cNvPr id="11" name="Picture 10" descr="People greeting customers">
            <a:extLst>
              <a:ext uri="{FF2B5EF4-FFF2-40B4-BE49-F238E27FC236}">
                <a16:creationId xmlns:a16="http://schemas.microsoft.com/office/drawing/2014/main" id="{8C75F795-3A19-29ED-CB36-C8D871E199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6435" y="-40928"/>
            <a:ext cx="8065385" cy="506051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3E370-EBDE-F6A2-64A1-5ECE5EB26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147" y="226701"/>
            <a:ext cx="11725484" cy="314028"/>
          </a:xfrm>
        </p:spPr>
        <p:txBody>
          <a:bodyPr/>
          <a:lstStyle/>
          <a:p>
            <a:r>
              <a:rPr lang="en-US" dirty="0"/>
              <a:t>CPM Plan Overview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ECBD88D-D1C3-82C6-B6A6-CA927675A4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6964691"/>
              </p:ext>
            </p:extLst>
          </p:nvPr>
        </p:nvGraphicFramePr>
        <p:xfrm>
          <a:off x="233257" y="1023217"/>
          <a:ext cx="11725485" cy="1357150"/>
        </p:xfrm>
        <a:graphic>
          <a:graphicData uri="http://schemas.openxmlformats.org/drawingml/2006/table">
            <a:tbl>
              <a:tblPr firstRow="1" bandRow="1"/>
              <a:tblGrid>
                <a:gridCol w="1386221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3831226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1260427765"/>
                    </a:ext>
                  </a:extLst>
                </a:gridCol>
                <a:gridCol w="1454763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369539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5160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2000" b="1" i="0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countability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841084"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2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eader board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32962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rterly Leaderboards to track utiliz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mai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D’s/HRBP’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 June- De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2268965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D3DA404-36A7-6A22-15EC-5CE8B3E19C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9872" y="3177030"/>
            <a:ext cx="2044731" cy="1300604"/>
          </a:xfrm>
          <a:prstGeom prst="rect">
            <a:avLst/>
          </a:prstGeom>
        </p:spPr>
      </p:pic>
      <p:sp>
        <p:nvSpPr>
          <p:cNvPr id="6" name="Google Shape;2058;p66">
            <a:extLst>
              <a:ext uri="{FF2B5EF4-FFF2-40B4-BE49-F238E27FC236}">
                <a16:creationId xmlns:a16="http://schemas.microsoft.com/office/drawing/2014/main" id="{5FC48DF1-8F47-6233-E0CC-3676CF30A542}"/>
              </a:ext>
            </a:extLst>
          </p:cNvPr>
          <p:cNvSpPr/>
          <p:nvPr/>
        </p:nvSpPr>
        <p:spPr>
          <a:xfrm>
            <a:off x="194082" y="2689945"/>
            <a:ext cx="1018000" cy="1018000"/>
          </a:xfrm>
          <a:prstGeom prst="ellipse">
            <a:avLst/>
          </a:prstGeom>
          <a:gradFill>
            <a:gsLst>
              <a:gs pos="0">
                <a:schemeClr val="lt1"/>
              </a:gs>
              <a:gs pos="50000">
                <a:srgbClr val="F2F2F2"/>
              </a:gs>
              <a:gs pos="100000">
                <a:srgbClr val="D8D8D8"/>
              </a:gs>
            </a:gsLst>
            <a:lin ang="5400012" scaled="0"/>
          </a:gradFill>
          <a:ln>
            <a:noFill/>
          </a:ln>
          <a:effectLst>
            <a:outerShdw blurRad="101600" dist="19050" dir="5400000" algn="ctr" rotWithShape="0">
              <a:srgbClr val="000000">
                <a:alpha val="62750"/>
              </a:srgbClr>
            </a:outerShdw>
          </a:effectLst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/>
            <a:endParaRPr sz="1867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" name="Graphic 7" descr="Crown with solid fill">
            <a:extLst>
              <a:ext uri="{FF2B5EF4-FFF2-40B4-BE49-F238E27FC236}">
                <a16:creationId xmlns:a16="http://schemas.microsoft.com/office/drawing/2014/main" id="{20E0C059-8819-B5BC-6188-92C875BFD2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748" y="2790243"/>
            <a:ext cx="683078" cy="683078"/>
          </a:xfrm>
          <a:prstGeom prst="rect">
            <a:avLst/>
          </a:prstGeom>
        </p:spPr>
      </p:pic>
      <p:sp>
        <p:nvSpPr>
          <p:cNvPr id="9" name="Google Shape;2227;p68">
            <a:extLst>
              <a:ext uri="{FF2B5EF4-FFF2-40B4-BE49-F238E27FC236}">
                <a16:creationId xmlns:a16="http://schemas.microsoft.com/office/drawing/2014/main" id="{BC8094E4-32E3-08C9-6307-BEF9ABD4B48E}"/>
              </a:ext>
            </a:extLst>
          </p:cNvPr>
          <p:cNvSpPr txBox="1">
            <a:spLocks/>
          </p:cNvSpPr>
          <p:nvPr/>
        </p:nvSpPr>
        <p:spPr>
          <a:xfrm>
            <a:off x="465475" y="4269984"/>
            <a:ext cx="3028223" cy="12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200" b="0" i="0" u="none" strike="noStrike" cap="none">
                <a:solidFill>
                  <a:srgbClr val="20124D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0" indent="0"/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r>
              <a:rPr lang="en-MY" sz="1050" dirty="0">
                <a:latin typeface="+mj-lt"/>
              </a:rPr>
              <a:t>A monthly/ quarterly dashboard showcasing the utilisation. Audit the quality of activities and achievements logged in the system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4180C59-59F9-4D5D-5009-0A7D7B3F2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33243" y="2768286"/>
            <a:ext cx="7764635" cy="3102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8594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5EBBEC2F-954A-4E22-B806-60F2DEAD5CA5}"/>
              </a:ext>
            </a:extLst>
          </p:cNvPr>
          <p:cNvSpPr/>
          <p:nvPr/>
        </p:nvSpPr>
        <p:spPr>
          <a:xfrm flipH="1">
            <a:off x="91" y="3782105"/>
            <a:ext cx="12191821" cy="1237485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2" descr="Automotive in China : Best Marketing Strategies at the Digital Age -  Marketing China">
            <a:extLst>
              <a:ext uri="{FF2B5EF4-FFF2-40B4-BE49-F238E27FC236}">
                <a16:creationId xmlns:a16="http://schemas.microsoft.com/office/drawing/2014/main" id="{80FFA544-881A-45BD-9610-C7FBC2A82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" y="1"/>
            <a:ext cx="12191821" cy="5019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6CCD7F97-107D-4BC6-8338-D82086871C51}"/>
              </a:ext>
            </a:extLst>
          </p:cNvPr>
          <p:cNvSpPr/>
          <p:nvPr/>
        </p:nvSpPr>
        <p:spPr>
          <a:xfrm flipH="1">
            <a:off x="0" y="3631719"/>
            <a:ext cx="12191820" cy="1387871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0997AD-803C-4A3B-9D43-A11F2E0F49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34" y="5798247"/>
            <a:ext cx="8458946" cy="69083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/>
              <a:t>Emirati Development campaign/plan</a:t>
            </a:r>
            <a:br>
              <a:rPr lang="en-US" dirty="0"/>
            </a:br>
            <a:endParaRPr lang="en-US" sz="1224" dirty="0"/>
          </a:p>
        </p:txBody>
      </p:sp>
      <p:pic>
        <p:nvPicPr>
          <p:cNvPr id="3074" name="Picture 2" descr="Dubai to boost employment of Emiratis with the Emirati Human Resources  Development Council - Culture">
            <a:extLst>
              <a:ext uri="{FF2B5EF4-FFF2-40B4-BE49-F238E27FC236}">
                <a16:creationId xmlns:a16="http://schemas.microsoft.com/office/drawing/2014/main" id="{D7006780-F340-9C55-C22C-336302A407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6759"/>
            <a:ext cx="12191820" cy="545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2284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7B3C5-0F92-6D93-7B3B-212D17F58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90" y="161393"/>
            <a:ext cx="11725484" cy="923330"/>
          </a:xfrm>
        </p:spPr>
        <p:txBody>
          <a:bodyPr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15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2023</a:t>
            </a:r>
            <a:r>
              <a:rPr kumimoji="0" lang="en-US" sz="2400" b="0" i="0" u="none" strike="noStrike" kern="1200" cap="none" spc="1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Adoption </a:t>
            </a:r>
            <a:r>
              <a:rPr kumimoji="0" lang="en-US" sz="2400" b="0" i="0" u="none" strike="noStrike" kern="1200" cap="none" spc="2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nd</a:t>
            </a:r>
            <a:r>
              <a:rPr kumimoji="0" lang="en-US" sz="2400" b="0" i="0" u="none" strike="noStrike" kern="1200" cap="none" spc="1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Application </a:t>
            </a:r>
            <a:r>
              <a:rPr kumimoji="0" lang="en-US" sz="2400" b="0" i="0" u="none" strike="noStrike" kern="1200" cap="none" spc="5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or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2400" b="0" i="0" u="none" strike="noStrike" kern="1200" cap="none" spc="1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irati</a:t>
            </a:r>
            <a:r>
              <a:rPr kumimoji="0" lang="en-US" sz="2400" b="0" i="0" u="none" strike="noStrike" kern="1200" cap="none" spc="5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2400" b="0" i="0" u="none" strike="noStrike" kern="1200" cap="none" spc="1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ployees</a:t>
            </a:r>
            <a:br>
              <a:rPr kumimoji="0" lang="en-US" sz="2400" b="0" i="0" u="none" strike="noStrike" kern="1200" cap="none" spc="1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</a:b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EC5671C3-3AD9-EE87-CB81-840C3026F373}"/>
              </a:ext>
            </a:extLst>
          </p:cNvPr>
          <p:cNvSpPr/>
          <p:nvPr/>
        </p:nvSpPr>
        <p:spPr>
          <a:xfrm>
            <a:off x="534626" y="1449598"/>
            <a:ext cx="8122920" cy="1259205"/>
          </a:xfrm>
          <a:custGeom>
            <a:avLst/>
            <a:gdLst/>
            <a:ahLst/>
            <a:cxnLst/>
            <a:rect l="l" t="t" r="r" b="b"/>
            <a:pathLst>
              <a:path w="8122920" h="1259204">
                <a:moveTo>
                  <a:pt x="7996428" y="1258824"/>
                </a:moveTo>
                <a:lnTo>
                  <a:pt x="126491" y="1258824"/>
                </a:lnTo>
                <a:lnTo>
                  <a:pt x="77152" y="1248941"/>
                </a:lnTo>
                <a:lnTo>
                  <a:pt x="36956" y="1222057"/>
                </a:lnTo>
                <a:lnTo>
                  <a:pt x="9905" y="1182314"/>
                </a:lnTo>
                <a:lnTo>
                  <a:pt x="0" y="1133855"/>
                </a:lnTo>
                <a:lnTo>
                  <a:pt x="0" y="124967"/>
                </a:lnTo>
                <a:lnTo>
                  <a:pt x="9905" y="76509"/>
                </a:lnTo>
                <a:lnTo>
                  <a:pt x="36956" y="36766"/>
                </a:lnTo>
                <a:lnTo>
                  <a:pt x="77152" y="9882"/>
                </a:lnTo>
                <a:lnTo>
                  <a:pt x="126491" y="0"/>
                </a:lnTo>
                <a:lnTo>
                  <a:pt x="7996428" y="0"/>
                </a:lnTo>
                <a:lnTo>
                  <a:pt x="8045767" y="9882"/>
                </a:lnTo>
                <a:lnTo>
                  <a:pt x="8085962" y="36766"/>
                </a:lnTo>
                <a:lnTo>
                  <a:pt x="8113013" y="76509"/>
                </a:lnTo>
                <a:lnTo>
                  <a:pt x="8122919" y="124967"/>
                </a:lnTo>
                <a:lnTo>
                  <a:pt x="8122919" y="1133855"/>
                </a:lnTo>
                <a:lnTo>
                  <a:pt x="8113013" y="1182314"/>
                </a:lnTo>
                <a:lnTo>
                  <a:pt x="8085962" y="1222057"/>
                </a:lnTo>
                <a:lnTo>
                  <a:pt x="8045767" y="1248941"/>
                </a:lnTo>
                <a:lnTo>
                  <a:pt x="7996428" y="1258824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14B7B52A-69BE-A99A-0960-1F8825CA1905}"/>
              </a:ext>
            </a:extLst>
          </p:cNvPr>
          <p:cNvSpPr txBox="1"/>
          <p:nvPr/>
        </p:nvSpPr>
        <p:spPr>
          <a:xfrm>
            <a:off x="610299" y="1726470"/>
            <a:ext cx="8047246" cy="879728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rategic focus on enabling all Emirati population within the Automotive Division to have a robust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ividual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velopment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ans</a:t>
            </a:r>
            <a:r>
              <a:rPr kumimoji="0" lang="en-US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to supplement their career growth within the Automotive Division. </a:t>
            </a:r>
          </a:p>
          <a:p>
            <a:pPr marL="12700" marR="5080" lvl="0" indent="0" algn="l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5" normalizeH="0" baseline="0" noProof="0" dirty="0">
              <a:ln>
                <a:noFill/>
              </a:ln>
              <a:solidFill>
                <a:srgbClr val="001F6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5080" lvl="0" indent="0" algn="l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y 2023 activities will </a:t>
            </a:r>
            <a:r>
              <a:rPr kumimoji="0" lang="en-US" sz="1300" b="0" i="0" u="none" strike="noStrike" kern="1200" cap="none" spc="5" normalizeH="0" baseline="0" noProof="0" dirty="0" err="1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oritise</a:t>
            </a:r>
            <a:r>
              <a:rPr kumimoji="0" lang="en-US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adoption of personal growth and career development  plans</a:t>
            </a: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0DEEAEA4-7960-8FE4-83E3-F13646CE0055}"/>
              </a:ext>
            </a:extLst>
          </p:cNvPr>
          <p:cNvSpPr/>
          <p:nvPr/>
        </p:nvSpPr>
        <p:spPr>
          <a:xfrm>
            <a:off x="534626" y="2850155"/>
            <a:ext cx="5305425" cy="1259205"/>
          </a:xfrm>
          <a:custGeom>
            <a:avLst/>
            <a:gdLst/>
            <a:ahLst/>
            <a:cxnLst/>
            <a:rect l="l" t="t" r="r" b="b"/>
            <a:pathLst>
              <a:path w="5305425" h="1259204">
                <a:moveTo>
                  <a:pt x="5180076" y="1258824"/>
                </a:moveTo>
                <a:lnTo>
                  <a:pt x="126491" y="1258824"/>
                </a:lnTo>
                <a:lnTo>
                  <a:pt x="77152" y="1248941"/>
                </a:lnTo>
                <a:lnTo>
                  <a:pt x="36956" y="1222057"/>
                </a:lnTo>
                <a:lnTo>
                  <a:pt x="9905" y="1182314"/>
                </a:lnTo>
                <a:lnTo>
                  <a:pt x="0" y="1133855"/>
                </a:lnTo>
                <a:lnTo>
                  <a:pt x="0" y="124967"/>
                </a:lnTo>
                <a:lnTo>
                  <a:pt x="9905" y="76509"/>
                </a:lnTo>
                <a:lnTo>
                  <a:pt x="36956" y="36766"/>
                </a:lnTo>
                <a:lnTo>
                  <a:pt x="77152" y="9882"/>
                </a:lnTo>
                <a:lnTo>
                  <a:pt x="126491" y="0"/>
                </a:lnTo>
                <a:lnTo>
                  <a:pt x="5180076" y="0"/>
                </a:lnTo>
                <a:lnTo>
                  <a:pt x="5228534" y="9882"/>
                </a:lnTo>
                <a:lnTo>
                  <a:pt x="5268277" y="36766"/>
                </a:lnTo>
                <a:lnTo>
                  <a:pt x="5295161" y="76509"/>
                </a:lnTo>
                <a:lnTo>
                  <a:pt x="5305044" y="124967"/>
                </a:lnTo>
                <a:lnTo>
                  <a:pt x="5305044" y="1133855"/>
                </a:lnTo>
                <a:lnTo>
                  <a:pt x="5295161" y="1182314"/>
                </a:lnTo>
                <a:lnTo>
                  <a:pt x="5268277" y="1222057"/>
                </a:lnTo>
                <a:lnTo>
                  <a:pt x="5228534" y="1248941"/>
                </a:lnTo>
                <a:lnTo>
                  <a:pt x="5180076" y="1258824"/>
                </a:lnTo>
                <a:close/>
              </a:path>
            </a:pathLst>
          </a:custGeom>
          <a:solidFill>
            <a:srgbClr val="00AEE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object 6">
            <a:extLst>
              <a:ext uri="{FF2B5EF4-FFF2-40B4-BE49-F238E27FC236}">
                <a16:creationId xmlns:a16="http://schemas.microsoft.com/office/drawing/2014/main" id="{963027EE-487D-246D-0107-35C2D4562544}"/>
              </a:ext>
            </a:extLst>
          </p:cNvPr>
          <p:cNvSpPr txBox="1"/>
          <p:nvPr/>
        </p:nvSpPr>
        <p:spPr>
          <a:xfrm>
            <a:off x="610298" y="3034031"/>
            <a:ext cx="5161851" cy="879728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iver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“Personal Growth Frameworks”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-person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minars for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ne </a:t>
            </a:r>
            <a:r>
              <a:rPr kumimoji="0" sz="1300" b="0" i="0" u="none" strike="noStrike" kern="1200" cap="none" spc="-2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nagers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Emirati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mployees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y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y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3.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198120" lvl="0" indent="0" algn="l" defTabSz="914400" rtl="0" eaLnBrk="1" fontAlgn="auto" latinLnBrk="0" hangingPunct="1">
              <a:lnSpc>
                <a:spcPts val="1450"/>
              </a:lnSpc>
              <a:spcBef>
                <a:spcPts val="5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l employees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ll 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ave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 a 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rst draft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 a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an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llow-up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sz="1300" b="0" i="0" u="none" strike="noStrike" kern="1200" cap="none" spc="-2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mpletion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ir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ne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nager.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D004BF13-C443-A735-58F5-DD21B825D55A}"/>
              </a:ext>
            </a:extLst>
          </p:cNvPr>
          <p:cNvSpPr/>
          <p:nvPr/>
        </p:nvSpPr>
        <p:spPr>
          <a:xfrm>
            <a:off x="534626" y="4250710"/>
            <a:ext cx="2598420" cy="1259205"/>
          </a:xfrm>
          <a:custGeom>
            <a:avLst/>
            <a:gdLst/>
            <a:ahLst/>
            <a:cxnLst/>
            <a:rect l="l" t="t" r="r" b="b"/>
            <a:pathLst>
              <a:path w="2598420" h="1259204">
                <a:moveTo>
                  <a:pt x="2471927" y="1258823"/>
                </a:moveTo>
                <a:lnTo>
                  <a:pt x="126491" y="1258823"/>
                </a:lnTo>
                <a:lnTo>
                  <a:pt x="77152" y="1248941"/>
                </a:lnTo>
                <a:lnTo>
                  <a:pt x="36956" y="1222057"/>
                </a:lnTo>
                <a:lnTo>
                  <a:pt x="9905" y="1182314"/>
                </a:lnTo>
                <a:lnTo>
                  <a:pt x="0" y="1133856"/>
                </a:lnTo>
                <a:lnTo>
                  <a:pt x="0" y="126491"/>
                </a:lnTo>
                <a:lnTo>
                  <a:pt x="9905" y="77152"/>
                </a:lnTo>
                <a:lnTo>
                  <a:pt x="36956" y="36956"/>
                </a:lnTo>
                <a:lnTo>
                  <a:pt x="77152" y="9905"/>
                </a:lnTo>
                <a:lnTo>
                  <a:pt x="126491" y="0"/>
                </a:lnTo>
                <a:lnTo>
                  <a:pt x="2471927" y="0"/>
                </a:lnTo>
                <a:lnTo>
                  <a:pt x="2521267" y="9905"/>
                </a:lnTo>
                <a:lnTo>
                  <a:pt x="2561462" y="36956"/>
                </a:lnTo>
                <a:lnTo>
                  <a:pt x="2588513" y="77152"/>
                </a:lnTo>
                <a:lnTo>
                  <a:pt x="2598419" y="126491"/>
                </a:lnTo>
                <a:lnTo>
                  <a:pt x="2598419" y="1133856"/>
                </a:lnTo>
                <a:lnTo>
                  <a:pt x="2588513" y="1182314"/>
                </a:lnTo>
                <a:lnTo>
                  <a:pt x="2561462" y="1222057"/>
                </a:lnTo>
                <a:lnTo>
                  <a:pt x="2521267" y="1248941"/>
                </a:lnTo>
                <a:lnTo>
                  <a:pt x="2471927" y="1258823"/>
                </a:lnTo>
                <a:close/>
              </a:path>
            </a:pathLst>
          </a:custGeom>
          <a:solidFill>
            <a:srgbClr val="005BA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53C8B0F3-C3FB-6374-A6CD-3D91509F4AA0}"/>
              </a:ext>
            </a:extLst>
          </p:cNvPr>
          <p:cNvSpPr txBox="1"/>
          <p:nvPr/>
        </p:nvSpPr>
        <p:spPr>
          <a:xfrm>
            <a:off x="678894" y="4562622"/>
            <a:ext cx="2310130" cy="418063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mmunications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an; and HRBP </a:t>
            </a:r>
            <a:r>
              <a:rPr kumimoji="0" sz="13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pport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actful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itiative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object 9">
            <a:extLst>
              <a:ext uri="{FF2B5EF4-FFF2-40B4-BE49-F238E27FC236}">
                <a16:creationId xmlns:a16="http://schemas.microsoft.com/office/drawing/2014/main" id="{5B60C4D5-39F9-1C67-B9CB-672BE61BD073}"/>
              </a:ext>
            </a:extLst>
          </p:cNvPr>
          <p:cNvSpPr/>
          <p:nvPr/>
        </p:nvSpPr>
        <p:spPr>
          <a:xfrm>
            <a:off x="3241249" y="4250710"/>
            <a:ext cx="2598420" cy="1259205"/>
          </a:xfrm>
          <a:custGeom>
            <a:avLst/>
            <a:gdLst/>
            <a:ahLst/>
            <a:cxnLst/>
            <a:rect l="l" t="t" r="r" b="b"/>
            <a:pathLst>
              <a:path w="2598420" h="1259204">
                <a:moveTo>
                  <a:pt x="2473451" y="1258823"/>
                </a:moveTo>
                <a:lnTo>
                  <a:pt x="126491" y="1258823"/>
                </a:lnTo>
                <a:lnTo>
                  <a:pt x="77152" y="1248941"/>
                </a:lnTo>
                <a:lnTo>
                  <a:pt x="36956" y="1222057"/>
                </a:lnTo>
                <a:lnTo>
                  <a:pt x="9905" y="1182314"/>
                </a:lnTo>
                <a:lnTo>
                  <a:pt x="0" y="1133856"/>
                </a:lnTo>
                <a:lnTo>
                  <a:pt x="0" y="126491"/>
                </a:lnTo>
                <a:lnTo>
                  <a:pt x="9905" y="77152"/>
                </a:lnTo>
                <a:lnTo>
                  <a:pt x="36956" y="36956"/>
                </a:lnTo>
                <a:lnTo>
                  <a:pt x="77152" y="9905"/>
                </a:lnTo>
                <a:lnTo>
                  <a:pt x="126491" y="0"/>
                </a:lnTo>
                <a:lnTo>
                  <a:pt x="2473451" y="0"/>
                </a:lnTo>
                <a:lnTo>
                  <a:pt x="2521910" y="9905"/>
                </a:lnTo>
                <a:lnTo>
                  <a:pt x="2561653" y="36956"/>
                </a:lnTo>
                <a:lnTo>
                  <a:pt x="2588537" y="77152"/>
                </a:lnTo>
                <a:lnTo>
                  <a:pt x="2598419" y="126491"/>
                </a:lnTo>
                <a:lnTo>
                  <a:pt x="2598419" y="1133856"/>
                </a:lnTo>
                <a:lnTo>
                  <a:pt x="2588537" y="1182314"/>
                </a:lnTo>
                <a:lnTo>
                  <a:pt x="2561653" y="1222057"/>
                </a:lnTo>
                <a:lnTo>
                  <a:pt x="2521910" y="1248941"/>
                </a:lnTo>
                <a:lnTo>
                  <a:pt x="2473451" y="1258823"/>
                </a:lnTo>
                <a:close/>
              </a:path>
            </a:pathLst>
          </a:custGeom>
          <a:solidFill>
            <a:srgbClr val="005BA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10">
            <a:extLst>
              <a:ext uri="{FF2B5EF4-FFF2-40B4-BE49-F238E27FC236}">
                <a16:creationId xmlns:a16="http://schemas.microsoft.com/office/drawing/2014/main" id="{12D44D60-D9F5-5B8A-E0DA-481F35001633}"/>
              </a:ext>
            </a:extLst>
          </p:cNvPr>
          <p:cNvSpPr txBox="1"/>
          <p:nvPr/>
        </p:nvSpPr>
        <p:spPr>
          <a:xfrm>
            <a:off x="3420564" y="4562622"/>
            <a:ext cx="2239645" cy="59563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 lvl="0" indent="2540" algn="ctr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cessible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gital resources for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ongoing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ference;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arning;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sz="1300" b="0" i="0" u="none" strike="noStrike" kern="1200" cap="none" spc="-2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pport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4A4B9414-77AA-55F9-2AA5-31AD664D51A2}"/>
              </a:ext>
            </a:extLst>
          </p:cNvPr>
          <p:cNvSpPr/>
          <p:nvPr/>
        </p:nvSpPr>
        <p:spPr>
          <a:xfrm>
            <a:off x="6059125" y="2850155"/>
            <a:ext cx="2598420" cy="1259205"/>
          </a:xfrm>
          <a:custGeom>
            <a:avLst/>
            <a:gdLst/>
            <a:ahLst/>
            <a:cxnLst/>
            <a:rect l="l" t="t" r="r" b="b"/>
            <a:pathLst>
              <a:path w="2598420" h="1259204">
                <a:moveTo>
                  <a:pt x="2471927" y="1258824"/>
                </a:moveTo>
                <a:lnTo>
                  <a:pt x="124968" y="1258824"/>
                </a:lnTo>
                <a:lnTo>
                  <a:pt x="76509" y="1248941"/>
                </a:lnTo>
                <a:lnTo>
                  <a:pt x="36766" y="1222057"/>
                </a:lnTo>
                <a:lnTo>
                  <a:pt x="9882" y="1182314"/>
                </a:lnTo>
                <a:lnTo>
                  <a:pt x="0" y="1133855"/>
                </a:lnTo>
                <a:lnTo>
                  <a:pt x="0" y="124967"/>
                </a:lnTo>
                <a:lnTo>
                  <a:pt x="9882" y="76509"/>
                </a:lnTo>
                <a:lnTo>
                  <a:pt x="36766" y="36766"/>
                </a:lnTo>
                <a:lnTo>
                  <a:pt x="76509" y="9882"/>
                </a:lnTo>
                <a:lnTo>
                  <a:pt x="124968" y="0"/>
                </a:lnTo>
                <a:lnTo>
                  <a:pt x="2471927" y="0"/>
                </a:lnTo>
                <a:lnTo>
                  <a:pt x="2521267" y="9882"/>
                </a:lnTo>
                <a:lnTo>
                  <a:pt x="2561462" y="36766"/>
                </a:lnTo>
                <a:lnTo>
                  <a:pt x="2588513" y="76509"/>
                </a:lnTo>
                <a:lnTo>
                  <a:pt x="2598419" y="124967"/>
                </a:lnTo>
                <a:lnTo>
                  <a:pt x="2598419" y="1133855"/>
                </a:lnTo>
                <a:lnTo>
                  <a:pt x="2588513" y="1182314"/>
                </a:lnTo>
                <a:lnTo>
                  <a:pt x="2561462" y="1222057"/>
                </a:lnTo>
                <a:lnTo>
                  <a:pt x="2521267" y="1248941"/>
                </a:lnTo>
                <a:lnTo>
                  <a:pt x="2471927" y="1258824"/>
                </a:lnTo>
                <a:close/>
              </a:path>
            </a:pathLst>
          </a:custGeom>
          <a:solidFill>
            <a:srgbClr val="00AEE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bject 12">
            <a:extLst>
              <a:ext uri="{FF2B5EF4-FFF2-40B4-BE49-F238E27FC236}">
                <a16:creationId xmlns:a16="http://schemas.microsoft.com/office/drawing/2014/main" id="{38B0551A-4EC1-CE63-7928-2A0D482BCD61}"/>
              </a:ext>
            </a:extLst>
          </p:cNvPr>
          <p:cNvSpPr txBox="1"/>
          <p:nvPr/>
        </p:nvSpPr>
        <p:spPr>
          <a:xfrm>
            <a:off x="6133360" y="2977633"/>
            <a:ext cx="2313305" cy="995144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fsit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/Onsite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experiential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minars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ll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vide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blend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ays to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teract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xplore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 </a:t>
            </a:r>
            <a:r>
              <a:rPr kumimoji="0" sz="13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cepts,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ols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plication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 </a:t>
            </a:r>
            <a:r>
              <a:rPr kumimoji="0" sz="1300" b="0" i="0" u="none" strike="noStrike" kern="1200" cap="none" spc="-2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DP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4" name="object 13">
            <a:extLst>
              <a:ext uri="{FF2B5EF4-FFF2-40B4-BE49-F238E27FC236}">
                <a16:creationId xmlns:a16="http://schemas.microsoft.com/office/drawing/2014/main" id="{61AD0EC4-1D9D-FD0A-AD3B-87037F90E5BF}"/>
              </a:ext>
            </a:extLst>
          </p:cNvPr>
          <p:cNvSpPr/>
          <p:nvPr/>
        </p:nvSpPr>
        <p:spPr>
          <a:xfrm>
            <a:off x="6059125" y="4250710"/>
            <a:ext cx="2598420" cy="1259205"/>
          </a:xfrm>
          <a:custGeom>
            <a:avLst/>
            <a:gdLst/>
            <a:ahLst/>
            <a:cxnLst/>
            <a:rect l="l" t="t" r="r" b="b"/>
            <a:pathLst>
              <a:path w="2598420" h="1259204">
                <a:moveTo>
                  <a:pt x="2471927" y="1258823"/>
                </a:moveTo>
                <a:lnTo>
                  <a:pt x="124968" y="1258823"/>
                </a:lnTo>
                <a:lnTo>
                  <a:pt x="76509" y="1248941"/>
                </a:lnTo>
                <a:lnTo>
                  <a:pt x="36766" y="1222057"/>
                </a:lnTo>
                <a:lnTo>
                  <a:pt x="9882" y="1182314"/>
                </a:lnTo>
                <a:lnTo>
                  <a:pt x="0" y="1133856"/>
                </a:lnTo>
                <a:lnTo>
                  <a:pt x="0" y="126491"/>
                </a:lnTo>
                <a:lnTo>
                  <a:pt x="9882" y="77152"/>
                </a:lnTo>
                <a:lnTo>
                  <a:pt x="36766" y="36956"/>
                </a:lnTo>
                <a:lnTo>
                  <a:pt x="76509" y="9905"/>
                </a:lnTo>
                <a:lnTo>
                  <a:pt x="124968" y="0"/>
                </a:lnTo>
                <a:lnTo>
                  <a:pt x="2471927" y="0"/>
                </a:lnTo>
                <a:lnTo>
                  <a:pt x="2521267" y="9905"/>
                </a:lnTo>
                <a:lnTo>
                  <a:pt x="2561462" y="36956"/>
                </a:lnTo>
                <a:lnTo>
                  <a:pt x="2588513" y="77152"/>
                </a:lnTo>
                <a:lnTo>
                  <a:pt x="2598419" y="126491"/>
                </a:lnTo>
                <a:lnTo>
                  <a:pt x="2598419" y="1133856"/>
                </a:lnTo>
                <a:lnTo>
                  <a:pt x="2588513" y="1182314"/>
                </a:lnTo>
                <a:lnTo>
                  <a:pt x="2561462" y="1222057"/>
                </a:lnTo>
                <a:lnTo>
                  <a:pt x="2521267" y="1248941"/>
                </a:lnTo>
                <a:lnTo>
                  <a:pt x="2471927" y="1258823"/>
                </a:lnTo>
                <a:close/>
              </a:path>
            </a:pathLst>
          </a:custGeom>
          <a:solidFill>
            <a:srgbClr val="005BA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object 14">
            <a:extLst>
              <a:ext uri="{FF2B5EF4-FFF2-40B4-BE49-F238E27FC236}">
                <a16:creationId xmlns:a16="http://schemas.microsoft.com/office/drawing/2014/main" id="{9B80634B-A655-2F8C-62C0-9C0DF24D7C52}"/>
              </a:ext>
            </a:extLst>
          </p:cNvPr>
          <p:cNvSpPr txBox="1"/>
          <p:nvPr/>
        </p:nvSpPr>
        <p:spPr>
          <a:xfrm>
            <a:off x="6203398" y="4562622"/>
            <a:ext cx="2308225" cy="610424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065" marR="5080" lvl="0" indent="0" algn="ctr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terventions through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3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 </a:t>
            </a:r>
            <a:r>
              <a:rPr kumimoji="0" sz="1300" b="0" i="0" u="none" strike="noStrike" kern="1200" cap="none" spc="-2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heck quality </a:t>
            </a:r>
            <a:r>
              <a:rPr kumimoji="0" lang="en-US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 plans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lang="en-US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implementation.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7A6B7C-5FB3-D8A4-ED3D-5BB81C331A72}"/>
              </a:ext>
            </a:extLst>
          </p:cNvPr>
          <p:cNvSpPr txBox="1"/>
          <p:nvPr/>
        </p:nvSpPr>
        <p:spPr>
          <a:xfrm>
            <a:off x="9646180" y="2850155"/>
            <a:ext cx="241490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100%</a:t>
            </a:r>
            <a:r>
              <a:rPr kumimoji="0" lang="en-US" sz="16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DP</a:t>
            </a:r>
            <a:r>
              <a:rPr kumimoji="0" lang="en-US" sz="1600" b="0" i="0" u="none" strike="noStrike" kern="1200" cap="none" spc="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ompletion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rate</a:t>
            </a:r>
            <a:r>
              <a:rPr kumimoji="0" lang="en-US" sz="16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n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Success</a:t>
            </a:r>
            <a:r>
              <a:rPr kumimoji="0" lang="en-US" sz="1600" b="0" i="0" u="none" strike="noStrike" kern="1200" cap="none" spc="-5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actors</a:t>
            </a:r>
            <a:r>
              <a:rPr kumimoji="0" lang="en-US" sz="1600" b="0" i="0" u="none" strike="noStrike" kern="1200" cap="none" spc="-4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or</a:t>
            </a:r>
            <a:r>
              <a:rPr kumimoji="0" lang="en-US" sz="1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urrent </a:t>
            </a:r>
            <a:r>
              <a:rPr kumimoji="0" lang="en-US" sz="1600" b="0" i="0" u="none" strike="noStrike" kern="1200" cap="none" spc="-2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irati </a:t>
            </a:r>
            <a:r>
              <a:rPr kumimoji="0" lang="en-US" sz="1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ployees with over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9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ays</a:t>
            </a:r>
            <a:r>
              <a:rPr kumimoji="0" lang="en-US" sz="16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servi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4DCAEF92-3A54-DCE0-57D1-D16C5E81E0F8}"/>
              </a:ext>
            </a:extLst>
          </p:cNvPr>
          <p:cNvSpPr/>
          <p:nvPr/>
        </p:nvSpPr>
        <p:spPr>
          <a:xfrm>
            <a:off x="8731780" y="3016695"/>
            <a:ext cx="914400" cy="914400"/>
          </a:xfrm>
          <a:prstGeom prst="mathEqual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29589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3E370-EBDE-F6A2-64A1-5ECE5EB26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147" y="226701"/>
            <a:ext cx="11725484" cy="36933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b="1" i="0" u="none" strike="noStrike" kern="12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mirati Personal Growth Framework Pla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ECBD88D-D1C3-82C6-B6A6-CA927675A4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1256135"/>
              </p:ext>
            </p:extLst>
          </p:nvPr>
        </p:nvGraphicFramePr>
        <p:xfrm>
          <a:off x="231321" y="726286"/>
          <a:ext cx="11103428" cy="5090080"/>
        </p:xfrm>
        <a:graphic>
          <a:graphicData uri="http://schemas.openxmlformats.org/drawingml/2006/table">
            <a:tbl>
              <a:tblPr firstRow="1" bandRow="1"/>
              <a:tblGrid>
                <a:gridCol w="1557304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3937444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2435808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634307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538565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3513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9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9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9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9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9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312827"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c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 communication from Kevin/Amr on the rollout of the initiative following the Group communic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 from AATC /HR Director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UAE nationals  &amp; their Managers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April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840140"/>
                  </a:ext>
                </a:extLst>
              </a:tr>
              <a:tr h="494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asers as part of the campaig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49748"/>
                  </a:ext>
                </a:extLst>
              </a:tr>
              <a:tr h="494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rgeted  e-mail communication to roll out the seminars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Communication / AATC communication with QR code to access the learning prior to attending the seminar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1379412"/>
                  </a:ext>
                </a:extLst>
              </a:tr>
              <a:tr h="514650">
                <a:tc rowSpan="3"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lf paced e-learning module to help employees &amp; people managers develop their IDP</a:t>
                      </a:r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E-Learning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l UAE national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3 April ( based on Group confirmation)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0515755"/>
                  </a:ext>
                </a:extLst>
              </a:tr>
              <a:tr h="514650">
                <a:tc vMerge="1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 face to face seminars of 3 hour e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minars in Innovation Hub &amp; AAT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UAE National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y: 9, 11, 15, 17, 18, 22, 23, 25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679395"/>
                  </a:ext>
                </a:extLst>
              </a:tr>
              <a:tr h="514650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mirati’s Managers sessions : 2 sessions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nager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TB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1522329"/>
                  </a:ext>
                </a:extLst>
              </a:tr>
              <a:tr h="572657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ssions on Career Success &amp; IDP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irtua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pril – May – Jun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7008285"/>
                  </a:ext>
                </a:extLst>
              </a:tr>
              <a:tr h="708017"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1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eader board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rterly Leaderboards to track utilization/ audit quality of IDP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mai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D’s/HRBP’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   June- De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226896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745FFD6-E4E6-913B-D1E7-059380914A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345404"/>
              </p:ext>
            </p:extLst>
          </p:nvPr>
        </p:nvGraphicFramePr>
        <p:xfrm>
          <a:off x="3074921" y="5957150"/>
          <a:ext cx="8259828" cy="4398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468020">
                  <a:extLst>
                    <a:ext uri="{9D8B030D-6E8A-4147-A177-3AD203B41FA5}">
                      <a16:colId xmlns:a16="http://schemas.microsoft.com/office/drawing/2014/main" val="4263247444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3415445366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3239337544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3513101638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3561713599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1474711305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21482548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2605616589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2455540978"/>
                    </a:ext>
                  </a:extLst>
                </a:gridCol>
              </a:tblGrid>
              <a:tr h="9809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Ban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C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F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G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H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J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extLst>
                  <a:ext uri="{0D108BD9-81ED-4DB2-BD59-A6C34878D82A}">
                    <a16:rowId xmlns:a16="http://schemas.microsoft.com/office/drawing/2014/main" val="4242046509"/>
                  </a:ext>
                </a:extLst>
              </a:tr>
              <a:tr h="9809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 emp.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16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130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176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61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extLst>
                  <a:ext uri="{0D108BD9-81ED-4DB2-BD59-A6C34878D82A}">
                    <a16:rowId xmlns:a16="http://schemas.microsoft.com/office/drawing/2014/main" val="28573113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93E1608-5E4A-A207-63B4-804874CA0B51}"/>
              </a:ext>
            </a:extLst>
          </p:cNvPr>
          <p:cNvSpPr txBox="1"/>
          <p:nvPr/>
        </p:nvSpPr>
        <p:spPr>
          <a:xfrm>
            <a:off x="231321" y="5978624"/>
            <a:ext cx="2198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AE Nationals: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37</a:t>
            </a:r>
          </a:p>
        </p:txBody>
      </p:sp>
    </p:spTree>
    <p:extLst>
      <p:ext uri="{BB962C8B-B14F-4D97-AF65-F5344CB8AC3E}">
        <p14:creationId xmlns:p14="http://schemas.microsoft.com/office/powerpoint/2010/main" val="14275474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iagram&#10;&#10;Description automatically generated">
            <a:extLst>
              <a:ext uri="{FF2B5EF4-FFF2-40B4-BE49-F238E27FC236}">
                <a16:creationId xmlns:a16="http://schemas.microsoft.com/office/drawing/2014/main" id="{8829FBD7-A537-887B-D0D7-F9B946881B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8927" y="3429000"/>
            <a:ext cx="1838967" cy="27595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2184EF-F173-F2B3-5E9B-5B5CE5977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147" y="109057"/>
            <a:ext cx="11725484" cy="314060"/>
          </a:xfrm>
        </p:spPr>
        <p:txBody>
          <a:bodyPr/>
          <a:lstStyle/>
          <a:p>
            <a:r>
              <a:rPr lang="en-US" dirty="0"/>
              <a:t>Draft Seminar Agenda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EF5E0F8F-E1D7-2BBF-C4E6-39243F07A7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293188"/>
              </p:ext>
            </p:extLst>
          </p:nvPr>
        </p:nvGraphicFramePr>
        <p:xfrm>
          <a:off x="192800" y="548932"/>
          <a:ext cx="6499008" cy="5982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3933">
                  <a:extLst>
                    <a:ext uri="{9D8B030D-6E8A-4147-A177-3AD203B41FA5}">
                      <a16:colId xmlns:a16="http://schemas.microsoft.com/office/drawing/2014/main" val="4131261208"/>
                    </a:ext>
                  </a:extLst>
                </a:gridCol>
                <a:gridCol w="2385075">
                  <a:extLst>
                    <a:ext uri="{9D8B030D-6E8A-4147-A177-3AD203B41FA5}">
                      <a16:colId xmlns:a16="http://schemas.microsoft.com/office/drawing/2014/main" val="145783423"/>
                    </a:ext>
                  </a:extLst>
                </a:gridCol>
              </a:tblGrid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0003765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l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M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5101326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cebreak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M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4028512"/>
                  </a:ext>
                </a:extLst>
              </a:tr>
              <a:tr h="39216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motive Strate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mr/ Senior Auto lea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2000008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V Strate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7415221"/>
                  </a:ext>
                </a:extLst>
              </a:tr>
              <a:tr h="51032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 &amp; A with key speak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an + Amr + Kev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492665"/>
                  </a:ext>
                </a:extLst>
              </a:tr>
              <a:tr h="343606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lashcards Ques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time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2531935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ccess s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Top performing UAE nation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101082"/>
                  </a:ext>
                </a:extLst>
              </a:tr>
              <a:tr h="43519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reer Timeline exerci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M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42699"/>
                  </a:ext>
                </a:extLst>
              </a:tr>
              <a:tr h="4516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eloping your Personal Growth Frame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amework &amp; Exercise(Vision Tree Drawi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3726680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elopment Talk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reer Coa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6405353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tical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rite down at least 2 SMART Development go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575228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los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Phot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8946807"/>
                  </a:ext>
                </a:extLst>
              </a:tr>
              <a:tr h="58413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edge Cards </a:t>
                      </a:r>
                    </a:p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otobooth with Pro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126531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4E168F1-8A65-A5CC-2BFA-E688B00D5F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9668" y="163685"/>
            <a:ext cx="3191170" cy="13436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5BDE3D-41E0-81B1-C126-1314025DA2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3177" y="1619079"/>
            <a:ext cx="2325444" cy="16369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BBFF57A-0EE3-B5F0-F02B-1CDEFD56EC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0798" y="2226689"/>
            <a:ext cx="2768833" cy="1476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90886F-0770-ABAD-04B4-D7DD53CC7D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57292" y="4049095"/>
            <a:ext cx="2932339" cy="16491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D818A6A-EC91-DB59-7F48-FE0B75F48C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12207" y="191932"/>
            <a:ext cx="1777424" cy="17900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440723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5EBBEC2F-954A-4E22-B806-60F2DEAD5CA5}"/>
              </a:ext>
            </a:extLst>
          </p:cNvPr>
          <p:cNvSpPr/>
          <p:nvPr/>
        </p:nvSpPr>
        <p:spPr>
          <a:xfrm flipH="1">
            <a:off x="91" y="3782105"/>
            <a:ext cx="12191821" cy="1237485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2" descr="Automotive in China : Best Marketing Strategies at the Digital Age -  Marketing China">
            <a:extLst>
              <a:ext uri="{FF2B5EF4-FFF2-40B4-BE49-F238E27FC236}">
                <a16:creationId xmlns:a16="http://schemas.microsoft.com/office/drawing/2014/main" id="{80FFA544-881A-45BD-9610-C7FBC2A82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" y="1"/>
            <a:ext cx="12191821" cy="5019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6CCD7F97-107D-4BC6-8338-D82086871C51}"/>
              </a:ext>
            </a:extLst>
          </p:cNvPr>
          <p:cNvSpPr/>
          <p:nvPr/>
        </p:nvSpPr>
        <p:spPr>
          <a:xfrm flipH="1">
            <a:off x="0" y="3631719"/>
            <a:ext cx="12191820" cy="1387871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0997AD-803C-4A3B-9D43-A11F2E0F49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949" y="5238664"/>
            <a:ext cx="8458946" cy="50244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/>
              <a:t>Emerging Leaders plan </a:t>
            </a:r>
            <a:endParaRPr lang="en-US" sz="1224" dirty="0"/>
          </a:p>
        </p:txBody>
      </p:sp>
      <p:pic>
        <p:nvPicPr>
          <p:cNvPr id="9" name="Picture 8" descr="Three university student women talking and smiling while seated">
            <a:extLst>
              <a:ext uri="{FF2B5EF4-FFF2-40B4-BE49-F238E27FC236}">
                <a16:creationId xmlns:a16="http://schemas.microsoft.com/office/drawing/2014/main" id="{9F43D852-21A0-E928-5B7D-96412C28D80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450"/>
          <a:stretch/>
        </p:blipFill>
        <p:spPr>
          <a:xfrm>
            <a:off x="-92" y="-1"/>
            <a:ext cx="4759871" cy="5019589"/>
          </a:xfrm>
          <a:prstGeom prst="rect">
            <a:avLst/>
          </a:prstGeom>
        </p:spPr>
      </p:pic>
      <p:pic>
        <p:nvPicPr>
          <p:cNvPr id="11" name="Picture 10" descr="People greeting customers">
            <a:extLst>
              <a:ext uri="{FF2B5EF4-FFF2-40B4-BE49-F238E27FC236}">
                <a16:creationId xmlns:a16="http://schemas.microsoft.com/office/drawing/2014/main" id="{8C75F795-3A19-29ED-CB36-C8D871E199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6435" y="-40928"/>
            <a:ext cx="8065385" cy="506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0933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3ABBF10-BFBC-2C94-F905-8244A5ECB7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616717"/>
              </p:ext>
            </p:extLst>
          </p:nvPr>
        </p:nvGraphicFramePr>
        <p:xfrm>
          <a:off x="163286" y="595509"/>
          <a:ext cx="11619812" cy="3690580"/>
        </p:xfrm>
        <a:graphic>
          <a:graphicData uri="http://schemas.openxmlformats.org/drawingml/2006/table">
            <a:tbl>
              <a:tblPr/>
              <a:tblGrid>
                <a:gridCol w="1472936">
                  <a:extLst>
                    <a:ext uri="{9D8B030D-6E8A-4147-A177-3AD203B41FA5}">
                      <a16:colId xmlns:a16="http://schemas.microsoft.com/office/drawing/2014/main" val="2454287286"/>
                    </a:ext>
                  </a:extLst>
                </a:gridCol>
                <a:gridCol w="1979501">
                  <a:extLst>
                    <a:ext uri="{9D8B030D-6E8A-4147-A177-3AD203B41FA5}">
                      <a16:colId xmlns:a16="http://schemas.microsoft.com/office/drawing/2014/main" val="903027437"/>
                    </a:ext>
                  </a:extLst>
                </a:gridCol>
                <a:gridCol w="685810">
                  <a:extLst>
                    <a:ext uri="{9D8B030D-6E8A-4147-A177-3AD203B41FA5}">
                      <a16:colId xmlns:a16="http://schemas.microsoft.com/office/drawing/2014/main" val="2811121564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2283012821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3464495113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2560737208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2872780901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1183551106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1806419885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3508393857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17075151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1007563109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3166287592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3736031192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969266894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2437208767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1201651268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751631509"/>
                    </a:ext>
                  </a:extLst>
                </a:gridCol>
              </a:tblGrid>
              <a:tr h="310243">
                <a:tc gridSpan="18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merging Leader Programme- Band G-H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3983934"/>
                  </a:ext>
                </a:extLst>
              </a:tr>
              <a:tr h="4180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ach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 Title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of 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x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ration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1717903"/>
                  </a:ext>
                </a:extLst>
              </a:tr>
              <a:tr h="6150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rning Lab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. Engaging Leadership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 day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1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2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3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4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hort 5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996109"/>
                  </a:ext>
                </a:extLst>
              </a:tr>
              <a:tr h="6150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rning lab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. Goal Driven &amp; Commercial drive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hort 1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hort 2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hort 3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hort 4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hort 5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182397"/>
                  </a:ext>
                </a:extLst>
              </a:tr>
              <a:tr h="6150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rning lab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. Practical coach- Goal Driven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1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2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3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4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hort 5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725152"/>
                  </a:ext>
                </a:extLst>
              </a:tr>
              <a:tr h="6150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entoring session</a:t>
                      </a:r>
                    </a:p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( band J-K)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        Mentoring session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hrs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1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2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3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4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hort 5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563078"/>
                  </a:ext>
                </a:extLst>
              </a:tr>
              <a:tr h="5020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rning lab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. Managing complexities ( TBC)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566726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F4BE4A6-2ECD-24D7-6A9F-4777CBF8A682}"/>
              </a:ext>
            </a:extLst>
          </p:cNvPr>
          <p:cNvSpPr txBox="1"/>
          <p:nvPr/>
        </p:nvSpPr>
        <p:spPr>
          <a:xfrm>
            <a:off x="163286" y="130629"/>
            <a:ext cx="11430000" cy="406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481" fontAlgn="base">
              <a:spcBef>
                <a:spcPct val="0"/>
              </a:spcBef>
              <a:spcAft>
                <a:spcPct val="0"/>
              </a:spcAft>
              <a:tabLst>
                <a:tab pos="275340" algn="l"/>
              </a:tabLst>
            </a:pPr>
            <a:r>
              <a:rPr lang="en-US" sz="204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merging Leaders rollout by cohor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C7BDBA-715E-3E9C-6D20-1C51C0076869}"/>
              </a:ext>
            </a:extLst>
          </p:cNvPr>
          <p:cNvSpPr txBox="1"/>
          <p:nvPr/>
        </p:nvSpPr>
        <p:spPr>
          <a:xfrm>
            <a:off x="163286" y="4286089"/>
            <a:ext cx="1161981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Next steps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TT for the Trainers ( External 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et nominations based on criteri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ommunication to the targeted pop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cruit Mentors for the se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rack and Monitor completions of the program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Leadership briefing/connect before the session- Business side and not Corpora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360 forms- laun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uesday/Thursday- 2</a:t>
            </a:r>
            <a:r>
              <a:rPr lang="en-US" sz="1400" baseline="30000" dirty="0"/>
              <a:t>nd</a:t>
            </a:r>
            <a:r>
              <a:rPr lang="en-US" sz="1400" dirty="0"/>
              <a:t> or 3</a:t>
            </a:r>
            <a:r>
              <a:rPr lang="en-US" sz="1400" baseline="30000" dirty="0"/>
              <a:t>rd</a:t>
            </a:r>
            <a:r>
              <a:rPr lang="en-US" sz="1400" dirty="0"/>
              <a:t> we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67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9AD33-5982-5E36-A474-A96E4E829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3097" y="3271986"/>
            <a:ext cx="6084474" cy="677108"/>
          </a:xfrm>
        </p:spPr>
        <p:txBody>
          <a:bodyPr/>
          <a:lstStyle/>
          <a:p>
            <a:r>
              <a:rPr lang="en-US" sz="4400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0655650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6">
            <a:extLst>
              <a:ext uri="{FF2B5EF4-FFF2-40B4-BE49-F238E27FC236}">
                <a16:creationId xmlns:a16="http://schemas.microsoft.com/office/drawing/2014/main" id="{EE582077-A729-E733-C7B1-CBF5E2B2F809}"/>
              </a:ext>
            </a:extLst>
          </p:cNvPr>
          <p:cNvSpPr txBox="1">
            <a:spLocks/>
          </p:cNvSpPr>
          <p:nvPr/>
        </p:nvSpPr>
        <p:spPr>
          <a:xfrm>
            <a:off x="83760" y="-141849"/>
            <a:ext cx="11360150" cy="763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0252D"/>
              </a:buClr>
              <a:buSzPts val="1100"/>
              <a:buFont typeface="Arial"/>
              <a:buNone/>
              <a:tabLst/>
              <a:defRPr/>
            </a:pPr>
            <a:r>
              <a:rPr kumimoji="0" lang="en-US" sz="3467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Mukta ExtraLight"/>
                <a:sym typeface="Mukta ExtraLight"/>
              </a:rPr>
              <a:t>There is scope to improve engagement by manag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0252D"/>
              </a:buClr>
              <a:buSzPts val="1100"/>
              <a:buFont typeface="Arial"/>
              <a:buNone/>
              <a:tabLst/>
              <a:defRPr/>
            </a:pPr>
            <a:endParaRPr kumimoji="0" lang="en-US" sz="3467" b="0" i="0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Mukta ExtraLight"/>
              <a:sym typeface="Mukta Extra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n-US" sz="3467" b="0" i="0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Mukta ExtraLight"/>
              <a:sym typeface="Mukta ExtraLight"/>
            </a:endParaRPr>
          </a:p>
        </p:txBody>
      </p:sp>
      <p:sp>
        <p:nvSpPr>
          <p:cNvPr id="4" name="Google Shape;131;p16">
            <a:extLst>
              <a:ext uri="{FF2B5EF4-FFF2-40B4-BE49-F238E27FC236}">
                <a16:creationId xmlns:a16="http://schemas.microsoft.com/office/drawing/2014/main" id="{ECF9C4C0-E8F4-653E-962E-756234C6CAF6}"/>
              </a:ext>
            </a:extLst>
          </p:cNvPr>
          <p:cNvSpPr/>
          <p:nvPr/>
        </p:nvSpPr>
        <p:spPr>
          <a:xfrm>
            <a:off x="3817736" y="1158879"/>
            <a:ext cx="834000" cy="3998000"/>
          </a:xfrm>
          <a:prstGeom prst="upDown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6AA84F"/>
              </a:gs>
              <a:gs pos="100000">
                <a:srgbClr val="F1C232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Google Shape;132;p16">
            <a:extLst>
              <a:ext uri="{FF2B5EF4-FFF2-40B4-BE49-F238E27FC236}">
                <a16:creationId xmlns:a16="http://schemas.microsoft.com/office/drawing/2014/main" id="{143F657F-2011-AE90-C1AF-1C605465E7D5}"/>
              </a:ext>
            </a:extLst>
          </p:cNvPr>
          <p:cNvSpPr txBox="1"/>
          <p:nvPr/>
        </p:nvSpPr>
        <p:spPr>
          <a:xfrm>
            <a:off x="1971960" y="1158879"/>
            <a:ext cx="1677025" cy="8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OSITIVE</a:t>
            </a: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EEDBACK</a:t>
            </a: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REAS TO</a:t>
            </a: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IMPROVE</a:t>
            </a: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Google Shape;133;p16">
            <a:extLst>
              <a:ext uri="{FF2B5EF4-FFF2-40B4-BE49-F238E27FC236}">
                <a16:creationId xmlns:a16="http://schemas.microsoft.com/office/drawing/2014/main" id="{5DB3C8D5-189B-43FD-4A54-531CBAB69D4F}"/>
              </a:ext>
            </a:extLst>
          </p:cNvPr>
          <p:cNvSpPr txBox="1"/>
          <p:nvPr/>
        </p:nvSpPr>
        <p:spPr>
          <a:xfrm>
            <a:off x="83760" y="5856848"/>
            <a:ext cx="3252000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733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ource: Growing together survey 2022</a:t>
            </a:r>
            <a:endParaRPr kumimoji="0" sz="1733" b="0" i="0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257064-F2A7-BB27-FF01-2F44B413AF73}"/>
              </a:ext>
            </a:extLst>
          </p:cNvPr>
          <p:cNvSpPr txBox="1"/>
          <p:nvPr/>
        </p:nvSpPr>
        <p:spPr>
          <a:xfrm>
            <a:off x="4989237" y="1158879"/>
            <a:ext cx="46332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  Role clar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  Collabor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  Customer centricit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ellenc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 Futtaim as a place to work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r takes an active interest in my growth and develop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ort to listen to opinio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gnition &amp; appreci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 life bal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Google Shape;134;p16">
            <a:extLst>
              <a:ext uri="{FF2B5EF4-FFF2-40B4-BE49-F238E27FC236}">
                <a16:creationId xmlns:a16="http://schemas.microsoft.com/office/drawing/2014/main" id="{D148B6DB-3030-1815-1AC5-53FDEE14AD1F}"/>
              </a:ext>
            </a:extLst>
          </p:cNvPr>
          <p:cNvSpPr/>
          <p:nvPr/>
        </p:nvSpPr>
        <p:spPr>
          <a:xfrm>
            <a:off x="4914695" y="2986872"/>
            <a:ext cx="4633200" cy="2018442"/>
          </a:xfrm>
          <a:prstGeom prst="roundRect">
            <a:avLst>
              <a:gd name="adj" fmla="val 6922"/>
            </a:avLst>
          </a:prstGeom>
          <a:noFill/>
          <a:ln w="28575" cap="flat" cmpd="sng">
            <a:solidFill>
              <a:srgbClr val="CC000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90861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/>
          <p:cNvSpPr txBox="1"/>
          <p:nvPr/>
        </p:nvSpPr>
        <p:spPr>
          <a:xfrm>
            <a:off x="588992" y="1631040"/>
            <a:ext cx="4812400" cy="9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CONVERSATIONS 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ON-THE-GO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61" name="Google Shape;61;p14"/>
          <p:cNvSpPr txBox="1">
            <a:spLocks noGrp="1"/>
          </p:cNvSpPr>
          <p:nvPr>
            <p:ph type="title" idx="4294967295"/>
          </p:nvPr>
        </p:nvSpPr>
        <p:spPr>
          <a:xfrm>
            <a:off x="333150" y="124145"/>
            <a:ext cx="11360150" cy="763587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dirty="0">
                <a:solidFill>
                  <a:schemeClr val="bg1"/>
                </a:solidFill>
              </a:rPr>
              <a:t>Two approaches to better manager engagement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62" name="Google Shape;62;p14"/>
          <p:cNvSpPr txBox="1"/>
          <p:nvPr/>
        </p:nvSpPr>
        <p:spPr>
          <a:xfrm>
            <a:off x="6744333" y="1567245"/>
            <a:ext cx="3634000" cy="9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FOCUSED CONVERSATIONS</a:t>
            </a: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63" name="Google Shape;63;p14"/>
          <p:cNvSpPr txBox="1"/>
          <p:nvPr/>
        </p:nvSpPr>
        <p:spPr>
          <a:xfrm>
            <a:off x="1176367" y="3746379"/>
            <a:ext cx="4105600" cy="9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/>
              <a:buNone/>
              <a:tabLst/>
              <a:defRPr/>
            </a:pP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At any stage of work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Instant feedback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Tied to goals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Appreciation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64" name="Google Shape;64;p14"/>
          <p:cNvSpPr txBox="1"/>
          <p:nvPr/>
        </p:nvSpPr>
        <p:spPr>
          <a:xfrm>
            <a:off x="6546333" y="4007145"/>
            <a:ext cx="4296000" cy="9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At fixed intervals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Micro-conversations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Based on set themes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Public recognition 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Recorded for follow-up and appraisal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</p:txBody>
      </p:sp>
      <p:pic>
        <p:nvPicPr>
          <p:cNvPr id="65" name="Google Shape;65;p1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17820" y="2472180"/>
            <a:ext cx="1512333" cy="1512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66;p1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768300" y="2249592"/>
            <a:ext cx="1586067" cy="15860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413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78F50-423A-1995-1AF0-22566A0E4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ditional PM vs Flexible PM approach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3C1B04-16E1-B6AF-F4EC-97CBB0C4F9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6771" y="548893"/>
            <a:ext cx="8882742" cy="25811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98AE198-D766-A16A-6B1B-7A636CC5E9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002" t="7804" r="5459" b="13308"/>
          <a:stretch/>
        </p:blipFill>
        <p:spPr>
          <a:xfrm>
            <a:off x="1637881" y="2966775"/>
            <a:ext cx="9679911" cy="348824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F4E807F-43F6-AAAE-2B19-784E5BCA7BE4}"/>
              </a:ext>
            </a:extLst>
          </p:cNvPr>
          <p:cNvCxnSpPr>
            <a:cxnSpLocks/>
          </p:cNvCxnSpPr>
          <p:nvPr/>
        </p:nvCxnSpPr>
        <p:spPr>
          <a:xfrm>
            <a:off x="8164" y="2898321"/>
            <a:ext cx="12183836" cy="68454"/>
          </a:xfrm>
          <a:prstGeom prst="line">
            <a:avLst/>
          </a:prstGeom>
          <a:ln>
            <a:solidFill>
              <a:schemeClr val="accent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6250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BECE7AB-1041-A996-D9F2-E905DB9B5EE8}"/>
              </a:ext>
            </a:extLst>
          </p:cNvPr>
          <p:cNvSpPr txBox="1"/>
          <p:nvPr/>
        </p:nvSpPr>
        <p:spPr>
          <a:xfrm>
            <a:off x="1767960" y="820596"/>
            <a:ext cx="1200762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-5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erformance</a:t>
            </a:r>
            <a:r>
              <a:rPr kumimoji="0" lang="en-US" sz="3200" b="0" i="0" u="none" strike="noStrike" kern="1200" cap="none" spc="-20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3200" b="0" i="0" u="none" strike="noStrike" kern="1200" cap="none" spc="-5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Management</a:t>
            </a:r>
            <a:r>
              <a:rPr kumimoji="0" lang="en-US" sz="3200" b="0" i="0" u="none" strike="noStrike" kern="1200" cap="none" spc="-15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s</a:t>
            </a:r>
            <a:r>
              <a:rPr kumimoji="0" lang="en-US" sz="3200" b="0" i="0" u="none" strike="noStrike" kern="1200" cap="none" spc="-30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3200" b="1" i="0" u="none" strike="noStrike" kern="1200" cap="none" spc="-10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inuous*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ACD312-E08D-01CC-390C-976F25C51AA3}"/>
              </a:ext>
            </a:extLst>
          </p:cNvPr>
          <p:cNvSpPr txBox="1"/>
          <p:nvPr/>
        </p:nvSpPr>
        <p:spPr>
          <a:xfrm>
            <a:off x="977127" y="1689594"/>
            <a:ext cx="96991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i="1" dirty="0">
                <a:solidFill>
                  <a:srgbClr val="0EAAFF"/>
                </a:solidFill>
                <a:latin typeface="Arial"/>
                <a:cs typeface="Arial"/>
              </a:rPr>
              <a:t>*Performance </a:t>
            </a:r>
            <a:r>
              <a:rPr lang="en-US" sz="2800" b="1" i="1" spc="5" dirty="0">
                <a:solidFill>
                  <a:srgbClr val="0EAAFF"/>
                </a:solidFill>
                <a:latin typeface="Arial"/>
                <a:cs typeface="Arial"/>
              </a:rPr>
              <a:t>is </a:t>
            </a:r>
            <a:r>
              <a:rPr lang="en-US" sz="2800" b="1" i="1" spc="-5" dirty="0">
                <a:solidFill>
                  <a:srgbClr val="0EAAFF"/>
                </a:solidFill>
                <a:latin typeface="Arial"/>
                <a:cs typeface="Arial"/>
              </a:rPr>
              <a:t>not </a:t>
            </a:r>
            <a:r>
              <a:rPr lang="en-US" sz="2800" b="1" i="1" dirty="0">
                <a:solidFill>
                  <a:srgbClr val="0EAAFF"/>
                </a:solidFill>
                <a:latin typeface="Arial"/>
                <a:cs typeface="Arial"/>
              </a:rPr>
              <a:t>something measured </a:t>
            </a:r>
            <a:r>
              <a:rPr lang="en-US" sz="2800" b="1" i="1" spc="-5" dirty="0">
                <a:solidFill>
                  <a:srgbClr val="0EAAFF"/>
                </a:solidFill>
                <a:latin typeface="Arial"/>
                <a:cs typeface="Arial"/>
              </a:rPr>
              <a:t>once </a:t>
            </a:r>
            <a:r>
              <a:rPr lang="en-US" sz="2800" b="1" i="1" spc="5" dirty="0">
                <a:solidFill>
                  <a:srgbClr val="0EAAFF"/>
                </a:solidFill>
                <a:latin typeface="Arial"/>
                <a:cs typeface="Arial"/>
              </a:rPr>
              <a:t>a </a:t>
            </a:r>
            <a:r>
              <a:rPr lang="en-US" sz="2800" b="1" i="1" spc="-20" dirty="0">
                <a:solidFill>
                  <a:srgbClr val="0EAAFF"/>
                </a:solidFill>
                <a:latin typeface="Arial"/>
                <a:cs typeface="Arial"/>
              </a:rPr>
              <a:t>year. </a:t>
            </a:r>
            <a:endParaRPr lang="en-US" sz="2800" i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066324-FABA-89DC-EFED-C2ADC1C43D4E}"/>
              </a:ext>
            </a:extLst>
          </p:cNvPr>
          <p:cNvSpPr txBox="1"/>
          <p:nvPr/>
        </p:nvSpPr>
        <p:spPr>
          <a:xfrm>
            <a:off x="0" y="65314"/>
            <a:ext cx="120668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>
                    <a:lumMod val="75000"/>
                  </a:schemeClr>
                </a:solidFill>
              </a:rPr>
              <a:t>Why Continuous Performance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7058A7-A99C-BD40-FD74-5553B63467AB}"/>
              </a:ext>
            </a:extLst>
          </p:cNvPr>
          <p:cNvSpPr txBox="1"/>
          <p:nvPr/>
        </p:nvSpPr>
        <p:spPr>
          <a:xfrm>
            <a:off x="1928551" y="3048170"/>
            <a:ext cx="1547447" cy="3693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urrent stat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80F5E6-8214-061D-EFA0-C22C17031A26}"/>
              </a:ext>
            </a:extLst>
          </p:cNvPr>
          <p:cNvSpPr txBox="1"/>
          <p:nvPr/>
        </p:nvSpPr>
        <p:spPr>
          <a:xfrm>
            <a:off x="8219552" y="3118625"/>
            <a:ext cx="1547446" cy="3693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Future state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4DE2AC81-19F9-8819-6C42-208F5CD4CB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8305" y="3277197"/>
            <a:ext cx="2590203" cy="2590203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ADB721E7-5A45-2AEA-D0C1-232BFA3CE3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9373" y="3740214"/>
            <a:ext cx="1633067" cy="163306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321535E-F714-0DFD-D700-F7A4130C43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4741" y="3717822"/>
            <a:ext cx="1857077" cy="1857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366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5;p26">
            <a:extLst>
              <a:ext uri="{FF2B5EF4-FFF2-40B4-BE49-F238E27FC236}">
                <a16:creationId xmlns:a16="http://schemas.microsoft.com/office/drawing/2014/main" id="{C2DE4B04-12EC-F9B2-A923-1B39933DF05F}"/>
              </a:ext>
            </a:extLst>
          </p:cNvPr>
          <p:cNvSpPr txBox="1"/>
          <p:nvPr/>
        </p:nvSpPr>
        <p:spPr>
          <a:xfrm>
            <a:off x="0" y="0"/>
            <a:ext cx="11579200" cy="5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3200" b="0" i="0" u="none" strike="noStrike" kern="120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Calibri" panose="020F0502020204030204" pitchFamily="34" charset="0"/>
                <a:ea typeface="Oswald"/>
                <a:cs typeface="Calibri" panose="020F0502020204030204" pitchFamily="34" charset="0"/>
                <a:sym typeface="Oswald"/>
              </a:rPr>
              <a:t>Recommended Practices for continuous conversations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Calibri" panose="020F0502020204030204" pitchFamily="34" charset="0"/>
              <a:ea typeface="Oswald"/>
              <a:cs typeface="Calibri" panose="020F0502020204030204" pitchFamily="34" charset="0"/>
              <a:sym typeface="Oswald"/>
            </a:endParaRPr>
          </a:p>
        </p:txBody>
      </p:sp>
      <p:graphicFrame>
        <p:nvGraphicFramePr>
          <p:cNvPr id="4" name="Google Shape;106;p26">
            <a:extLst>
              <a:ext uri="{FF2B5EF4-FFF2-40B4-BE49-F238E27FC236}">
                <a16:creationId xmlns:a16="http://schemas.microsoft.com/office/drawing/2014/main" id="{CBC738C5-4A0F-B170-9A47-9196636BA6DA}"/>
              </a:ext>
            </a:extLst>
          </p:cNvPr>
          <p:cNvGraphicFramePr/>
          <p:nvPr/>
        </p:nvGraphicFramePr>
        <p:xfrm>
          <a:off x="460000" y="1150720"/>
          <a:ext cx="11272000" cy="475468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786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44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021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13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8275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9084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Who will meet?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When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Frequency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Duration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HRBP Presence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What to cover in these meetings?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34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Team Meeting</a:t>
                      </a:r>
                      <a:endParaRPr sz="1500"/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(Manager and DRs)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Weekly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nce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30-45 mins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nce a month</a:t>
                      </a:r>
                      <a:endParaRPr sz="1500"/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(Managers to send in invite)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 dirty="0"/>
                        <a:t>Problem Call outs</a:t>
                      </a:r>
                      <a:endParaRPr sz="800" dirty="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 dirty="0"/>
                        <a:t>Support needed from Managers</a:t>
                      </a:r>
                      <a:endParaRPr sz="800" dirty="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 dirty="0"/>
                        <a:t>Updates</a:t>
                      </a:r>
                      <a:endParaRPr sz="800" dirty="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 dirty="0"/>
                        <a:t>Appreciation/</a:t>
                      </a:r>
                      <a:endParaRPr sz="800" dirty="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 dirty="0"/>
                        <a:t>Celebration</a:t>
                      </a:r>
                      <a:endParaRPr sz="800" dirty="0"/>
                    </a:p>
                  </a:txBody>
                  <a:tcPr marL="121900" marR="121900" marT="121900" marB="1219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34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dirty="0"/>
                        <a:t>Business</a:t>
                      </a:r>
                      <a:r>
                        <a:rPr lang="en" sz="1500" dirty="0"/>
                        <a:t> Town Hall</a:t>
                      </a:r>
                      <a:endParaRPr sz="1500" dirty="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Monthly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nce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1-1.15 hours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Attend all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Major Updates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Celebrating Big Successes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Addressing Questions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Provide Platform to leaders in the organization to showcase work</a:t>
                      </a:r>
                      <a:endParaRPr sz="800"/>
                    </a:p>
                  </a:txBody>
                  <a:tcPr marL="121900" marR="121900" marT="121900" marB="12190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48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dirty="0"/>
                        <a:t>Manager 1:1 with DR</a:t>
                      </a:r>
                      <a:endParaRPr sz="1500" dirty="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Fortnightly/</a:t>
                      </a:r>
                      <a:endParaRPr sz="1500"/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Monthy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nce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30 minutes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dirty="0"/>
                        <a:t>Managers/Employees to call out for any specific needs</a:t>
                      </a:r>
                      <a:endParaRPr sz="1500" dirty="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Listening out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Career Growth Plan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Appreciation and Feedback(Mutual)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Tap Triggers on Motivation/Demotivation</a:t>
                      </a:r>
                      <a:endParaRPr sz="800"/>
                    </a:p>
                  </a:txBody>
                  <a:tcPr marL="121900" marR="121900" marT="121900" marB="1219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4108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Skip Meetings</a:t>
                      </a:r>
                      <a:endParaRPr sz="1500"/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(Manager with One Level Down)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dirty="0"/>
                        <a:t>Quarterly</a:t>
                      </a:r>
                      <a:endParaRPr sz="1500" dirty="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nce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dirty="0"/>
                        <a:t>30 -45 minutes</a:t>
                      </a:r>
                      <a:endParaRPr sz="1500" dirty="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ptional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Listening out 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Team concerns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Visibility for team members and gaining in confidence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Address Concerns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Take in feedback and improvement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Updates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Can do in START, STOP, CONTINUE Format for clarity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121900" marB="12190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462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22A1A-73AB-09BD-F00D-0BE866CF1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930" y="297703"/>
            <a:ext cx="11725484" cy="369332"/>
          </a:xfrm>
        </p:spPr>
        <p:txBody>
          <a:bodyPr/>
          <a:lstStyle/>
          <a:p>
            <a:r>
              <a:rPr lang="en-US" sz="2400" dirty="0"/>
              <a:t>Let’s Reflect on the current process</a:t>
            </a:r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8D67348E-787C-CEA3-63E6-E4E7EE41F282}"/>
              </a:ext>
            </a:extLst>
          </p:cNvPr>
          <p:cNvSpPr/>
          <p:nvPr/>
        </p:nvSpPr>
        <p:spPr>
          <a:xfrm>
            <a:off x="3885248" y="4005821"/>
            <a:ext cx="3885777" cy="890715"/>
          </a:xfrm>
          <a:custGeom>
            <a:avLst/>
            <a:gdLst/>
            <a:ahLst/>
            <a:cxnLst/>
            <a:rect l="l" t="t" r="r" b="b"/>
            <a:pathLst>
              <a:path w="3889375" h="891539">
                <a:moveTo>
                  <a:pt x="0" y="124713"/>
                </a:moveTo>
                <a:lnTo>
                  <a:pt x="9806" y="76188"/>
                </a:lnTo>
                <a:lnTo>
                  <a:pt x="36544" y="36544"/>
                </a:lnTo>
                <a:lnTo>
                  <a:pt x="76188" y="9806"/>
                </a:lnTo>
                <a:lnTo>
                  <a:pt x="124713" y="0"/>
                </a:lnTo>
                <a:lnTo>
                  <a:pt x="648208" y="0"/>
                </a:lnTo>
                <a:lnTo>
                  <a:pt x="1620520" y="0"/>
                </a:lnTo>
                <a:lnTo>
                  <a:pt x="3764533" y="0"/>
                </a:lnTo>
                <a:lnTo>
                  <a:pt x="3813059" y="9806"/>
                </a:lnTo>
                <a:lnTo>
                  <a:pt x="3852703" y="36544"/>
                </a:lnTo>
                <a:lnTo>
                  <a:pt x="3879441" y="76188"/>
                </a:lnTo>
                <a:lnTo>
                  <a:pt x="3889248" y="124713"/>
                </a:lnTo>
                <a:lnTo>
                  <a:pt x="3889248" y="436499"/>
                </a:lnTo>
                <a:lnTo>
                  <a:pt x="3889248" y="623569"/>
                </a:lnTo>
                <a:lnTo>
                  <a:pt x="3879441" y="672111"/>
                </a:lnTo>
                <a:lnTo>
                  <a:pt x="3852703" y="711754"/>
                </a:lnTo>
                <a:lnTo>
                  <a:pt x="3813059" y="738482"/>
                </a:lnTo>
                <a:lnTo>
                  <a:pt x="3764533" y="748284"/>
                </a:lnTo>
                <a:lnTo>
                  <a:pt x="1620520" y="748284"/>
                </a:lnTo>
                <a:lnTo>
                  <a:pt x="1638173" y="891070"/>
                </a:lnTo>
                <a:lnTo>
                  <a:pt x="648208" y="748284"/>
                </a:lnTo>
                <a:lnTo>
                  <a:pt x="124713" y="748284"/>
                </a:lnTo>
                <a:lnTo>
                  <a:pt x="76188" y="738482"/>
                </a:lnTo>
                <a:lnTo>
                  <a:pt x="36544" y="711754"/>
                </a:lnTo>
                <a:lnTo>
                  <a:pt x="9806" y="672111"/>
                </a:lnTo>
                <a:lnTo>
                  <a:pt x="0" y="623569"/>
                </a:lnTo>
                <a:lnTo>
                  <a:pt x="0" y="436499"/>
                </a:lnTo>
                <a:lnTo>
                  <a:pt x="0" y="124713"/>
                </a:lnTo>
                <a:close/>
              </a:path>
            </a:pathLst>
          </a:custGeom>
          <a:ln w="28956">
            <a:solidFill>
              <a:srgbClr val="0EAA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61941793-06A2-EB4F-4CAF-FBFD4BCECE44}"/>
              </a:ext>
            </a:extLst>
          </p:cNvPr>
          <p:cNvSpPr/>
          <p:nvPr/>
        </p:nvSpPr>
        <p:spPr>
          <a:xfrm>
            <a:off x="1158288" y="1231661"/>
            <a:ext cx="3505130" cy="1055663"/>
          </a:xfrm>
          <a:custGeom>
            <a:avLst/>
            <a:gdLst/>
            <a:ahLst/>
            <a:cxnLst/>
            <a:rect l="l" t="t" r="r" b="b"/>
            <a:pathLst>
              <a:path w="3508375" h="1056639">
                <a:moveTo>
                  <a:pt x="0" y="124967"/>
                </a:moveTo>
                <a:lnTo>
                  <a:pt x="9821" y="76348"/>
                </a:lnTo>
                <a:lnTo>
                  <a:pt x="36604" y="36623"/>
                </a:lnTo>
                <a:lnTo>
                  <a:pt x="76327" y="9828"/>
                </a:lnTo>
                <a:lnTo>
                  <a:pt x="124968" y="0"/>
                </a:lnTo>
                <a:lnTo>
                  <a:pt x="2046477" y="0"/>
                </a:lnTo>
                <a:lnTo>
                  <a:pt x="2923540" y="0"/>
                </a:lnTo>
                <a:lnTo>
                  <a:pt x="3383279" y="0"/>
                </a:lnTo>
                <a:lnTo>
                  <a:pt x="3431899" y="9828"/>
                </a:lnTo>
                <a:lnTo>
                  <a:pt x="3471624" y="36623"/>
                </a:lnTo>
                <a:lnTo>
                  <a:pt x="3498419" y="76348"/>
                </a:lnTo>
                <a:lnTo>
                  <a:pt x="3508248" y="124967"/>
                </a:lnTo>
                <a:lnTo>
                  <a:pt x="3508248" y="437388"/>
                </a:lnTo>
                <a:lnTo>
                  <a:pt x="3508248" y="624839"/>
                </a:lnTo>
                <a:lnTo>
                  <a:pt x="3498419" y="673459"/>
                </a:lnTo>
                <a:lnTo>
                  <a:pt x="3471624" y="713184"/>
                </a:lnTo>
                <a:lnTo>
                  <a:pt x="3431899" y="739979"/>
                </a:lnTo>
                <a:lnTo>
                  <a:pt x="3383279" y="749807"/>
                </a:lnTo>
                <a:lnTo>
                  <a:pt x="2923540" y="749807"/>
                </a:lnTo>
                <a:lnTo>
                  <a:pt x="2106422" y="1056131"/>
                </a:lnTo>
                <a:lnTo>
                  <a:pt x="2046477" y="749807"/>
                </a:lnTo>
                <a:lnTo>
                  <a:pt x="124968" y="749807"/>
                </a:lnTo>
                <a:lnTo>
                  <a:pt x="76327" y="739979"/>
                </a:lnTo>
                <a:lnTo>
                  <a:pt x="36604" y="713184"/>
                </a:lnTo>
                <a:lnTo>
                  <a:pt x="9821" y="673459"/>
                </a:lnTo>
                <a:lnTo>
                  <a:pt x="0" y="624839"/>
                </a:lnTo>
                <a:lnTo>
                  <a:pt x="0" y="437388"/>
                </a:lnTo>
                <a:lnTo>
                  <a:pt x="0" y="124967"/>
                </a:lnTo>
                <a:close/>
              </a:path>
            </a:pathLst>
          </a:custGeom>
          <a:ln w="28956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9">
            <a:extLst>
              <a:ext uri="{FF2B5EF4-FFF2-40B4-BE49-F238E27FC236}">
                <a16:creationId xmlns:a16="http://schemas.microsoft.com/office/drawing/2014/main" id="{D8A5A55C-ECA8-172D-E72A-E977D5050F40}"/>
              </a:ext>
            </a:extLst>
          </p:cNvPr>
          <p:cNvSpPr txBox="1"/>
          <p:nvPr/>
        </p:nvSpPr>
        <p:spPr>
          <a:xfrm>
            <a:off x="1366503" y="1342177"/>
            <a:ext cx="3084514" cy="512605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851402" marR="5075" lvl="0" indent="-839349" algn="l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ow</a:t>
            </a:r>
            <a:r>
              <a:rPr kumimoji="0" sz="1599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re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erformance</a:t>
            </a:r>
            <a:r>
              <a:rPr kumimoji="0" sz="1599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iscussions </a:t>
            </a:r>
            <a:r>
              <a:rPr kumimoji="0" sz="1599" b="0" i="0" u="none" strike="noStrike" kern="1200" cap="none" spc="-4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andled</a:t>
            </a:r>
            <a:r>
              <a:rPr kumimoji="0" sz="1599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oday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9796E561-C00B-B8D5-3E2F-9A174A68350A}"/>
              </a:ext>
            </a:extLst>
          </p:cNvPr>
          <p:cNvSpPr txBox="1"/>
          <p:nvPr/>
        </p:nvSpPr>
        <p:spPr>
          <a:xfrm>
            <a:off x="4133937" y="4116336"/>
            <a:ext cx="3384591" cy="512605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24108" algn="l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ow</a:t>
            </a:r>
            <a:r>
              <a:rPr kumimoji="0" sz="1599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ou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nsure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employees’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ork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lways</a:t>
            </a:r>
            <a:r>
              <a:rPr kumimoji="0" sz="1599" b="0" i="0" u="none" strike="noStrike" kern="1200" cap="none" spc="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ligns</a:t>
            </a:r>
            <a:r>
              <a:rPr kumimoji="0" sz="1599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o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business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objectives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7" name="object 11">
            <a:extLst>
              <a:ext uri="{FF2B5EF4-FFF2-40B4-BE49-F238E27FC236}">
                <a16:creationId xmlns:a16="http://schemas.microsoft.com/office/drawing/2014/main" id="{F57C0904-AB93-61D6-341C-5DD3C9786114}"/>
              </a:ext>
            </a:extLst>
          </p:cNvPr>
          <p:cNvSpPr/>
          <p:nvPr/>
        </p:nvSpPr>
        <p:spPr>
          <a:xfrm>
            <a:off x="3407154" y="2394922"/>
            <a:ext cx="4662298" cy="1296105"/>
          </a:xfrm>
          <a:custGeom>
            <a:avLst/>
            <a:gdLst/>
            <a:ahLst/>
            <a:cxnLst/>
            <a:rect l="l" t="t" r="r" b="b"/>
            <a:pathLst>
              <a:path w="4666615" h="1297304">
                <a:moveTo>
                  <a:pt x="0" y="170433"/>
                </a:moveTo>
                <a:lnTo>
                  <a:pt x="6089" y="125133"/>
                </a:lnTo>
                <a:lnTo>
                  <a:pt x="23273" y="84422"/>
                </a:lnTo>
                <a:lnTo>
                  <a:pt x="49926" y="49926"/>
                </a:lnTo>
                <a:lnTo>
                  <a:pt x="84422" y="23273"/>
                </a:lnTo>
                <a:lnTo>
                  <a:pt x="125133" y="6089"/>
                </a:lnTo>
                <a:lnTo>
                  <a:pt x="170434" y="0"/>
                </a:lnTo>
                <a:lnTo>
                  <a:pt x="777748" y="0"/>
                </a:lnTo>
                <a:lnTo>
                  <a:pt x="1944370" y="0"/>
                </a:lnTo>
                <a:lnTo>
                  <a:pt x="4496054" y="0"/>
                </a:lnTo>
                <a:lnTo>
                  <a:pt x="4541354" y="6089"/>
                </a:lnTo>
                <a:lnTo>
                  <a:pt x="4582065" y="23273"/>
                </a:lnTo>
                <a:lnTo>
                  <a:pt x="4616561" y="49926"/>
                </a:lnTo>
                <a:lnTo>
                  <a:pt x="4643214" y="84422"/>
                </a:lnTo>
                <a:lnTo>
                  <a:pt x="4660398" y="125133"/>
                </a:lnTo>
                <a:lnTo>
                  <a:pt x="4666488" y="170433"/>
                </a:lnTo>
                <a:lnTo>
                  <a:pt x="4666488" y="596518"/>
                </a:lnTo>
                <a:lnTo>
                  <a:pt x="4666488" y="852169"/>
                </a:lnTo>
                <a:lnTo>
                  <a:pt x="4660398" y="897470"/>
                </a:lnTo>
                <a:lnTo>
                  <a:pt x="4643214" y="938181"/>
                </a:lnTo>
                <a:lnTo>
                  <a:pt x="4616561" y="972677"/>
                </a:lnTo>
                <a:lnTo>
                  <a:pt x="4582065" y="999330"/>
                </a:lnTo>
                <a:lnTo>
                  <a:pt x="4541354" y="1016514"/>
                </a:lnTo>
                <a:lnTo>
                  <a:pt x="4496054" y="1022603"/>
                </a:lnTo>
                <a:lnTo>
                  <a:pt x="1944370" y="1022603"/>
                </a:lnTo>
                <a:lnTo>
                  <a:pt x="781304" y="1297304"/>
                </a:lnTo>
                <a:lnTo>
                  <a:pt x="777748" y="1022603"/>
                </a:lnTo>
                <a:lnTo>
                  <a:pt x="170434" y="1022603"/>
                </a:lnTo>
                <a:lnTo>
                  <a:pt x="125133" y="1016514"/>
                </a:lnTo>
                <a:lnTo>
                  <a:pt x="84422" y="999330"/>
                </a:lnTo>
                <a:lnTo>
                  <a:pt x="49926" y="972677"/>
                </a:lnTo>
                <a:lnTo>
                  <a:pt x="23273" y="938181"/>
                </a:lnTo>
                <a:lnTo>
                  <a:pt x="6089" y="897470"/>
                </a:lnTo>
                <a:lnTo>
                  <a:pt x="0" y="852169"/>
                </a:lnTo>
                <a:lnTo>
                  <a:pt x="0" y="596518"/>
                </a:lnTo>
                <a:lnTo>
                  <a:pt x="0" y="170433"/>
                </a:lnTo>
                <a:close/>
              </a:path>
            </a:pathLst>
          </a:custGeom>
          <a:ln w="28956">
            <a:solidFill>
              <a:srgbClr val="BD008B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F66E2FF3-B285-DB80-C2ED-8E5680C900F0}"/>
              </a:ext>
            </a:extLst>
          </p:cNvPr>
          <p:cNvSpPr txBox="1"/>
          <p:nvPr/>
        </p:nvSpPr>
        <p:spPr>
          <a:xfrm>
            <a:off x="3761283" y="2519392"/>
            <a:ext cx="3951756" cy="756220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0" algn="ctr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hat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ou</a:t>
            </a:r>
            <a:r>
              <a:rPr kumimoji="0" sz="1599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n the area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of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oaching</a:t>
            </a:r>
            <a:r>
              <a:rPr kumimoji="0" sz="1599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nd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eedback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o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rive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ontinual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erformance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mprovement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nd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evelopment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9" name="object 13">
            <a:extLst>
              <a:ext uri="{FF2B5EF4-FFF2-40B4-BE49-F238E27FC236}">
                <a16:creationId xmlns:a16="http://schemas.microsoft.com/office/drawing/2014/main" id="{2C2610FD-0B77-076F-2499-AB234FEFCF28}"/>
              </a:ext>
            </a:extLst>
          </p:cNvPr>
          <p:cNvSpPr/>
          <p:nvPr/>
        </p:nvSpPr>
        <p:spPr>
          <a:xfrm>
            <a:off x="8069326" y="3871833"/>
            <a:ext cx="3814088" cy="1270094"/>
          </a:xfrm>
          <a:custGeom>
            <a:avLst/>
            <a:gdLst/>
            <a:ahLst/>
            <a:cxnLst/>
            <a:rect l="l" t="t" r="r" b="b"/>
            <a:pathLst>
              <a:path w="3817620" h="1271270">
                <a:moveTo>
                  <a:pt x="0" y="170180"/>
                </a:moveTo>
                <a:lnTo>
                  <a:pt x="6079" y="124942"/>
                </a:lnTo>
                <a:lnTo>
                  <a:pt x="23236" y="84290"/>
                </a:lnTo>
                <a:lnTo>
                  <a:pt x="49847" y="49847"/>
                </a:lnTo>
                <a:lnTo>
                  <a:pt x="84290" y="23236"/>
                </a:lnTo>
                <a:lnTo>
                  <a:pt x="124942" y="6079"/>
                </a:lnTo>
                <a:lnTo>
                  <a:pt x="170179" y="0"/>
                </a:lnTo>
                <a:lnTo>
                  <a:pt x="636270" y="0"/>
                </a:lnTo>
                <a:lnTo>
                  <a:pt x="1590675" y="0"/>
                </a:lnTo>
                <a:lnTo>
                  <a:pt x="3647440" y="0"/>
                </a:lnTo>
                <a:lnTo>
                  <a:pt x="3692677" y="6079"/>
                </a:lnTo>
                <a:lnTo>
                  <a:pt x="3733329" y="23236"/>
                </a:lnTo>
                <a:lnTo>
                  <a:pt x="3767772" y="49847"/>
                </a:lnTo>
                <a:lnTo>
                  <a:pt x="3794383" y="84290"/>
                </a:lnTo>
                <a:lnTo>
                  <a:pt x="3811540" y="124942"/>
                </a:lnTo>
                <a:lnTo>
                  <a:pt x="3817620" y="170180"/>
                </a:lnTo>
                <a:lnTo>
                  <a:pt x="3817620" y="595630"/>
                </a:lnTo>
                <a:lnTo>
                  <a:pt x="3817620" y="850900"/>
                </a:lnTo>
                <a:lnTo>
                  <a:pt x="3811540" y="896142"/>
                </a:lnTo>
                <a:lnTo>
                  <a:pt x="3794383" y="936795"/>
                </a:lnTo>
                <a:lnTo>
                  <a:pt x="3767772" y="971237"/>
                </a:lnTo>
                <a:lnTo>
                  <a:pt x="3733329" y="997846"/>
                </a:lnTo>
                <a:lnTo>
                  <a:pt x="3692677" y="1015001"/>
                </a:lnTo>
                <a:lnTo>
                  <a:pt x="3647440" y="1021080"/>
                </a:lnTo>
                <a:lnTo>
                  <a:pt x="1590675" y="1021080"/>
                </a:lnTo>
                <a:lnTo>
                  <a:pt x="636270" y="1270901"/>
                </a:lnTo>
                <a:lnTo>
                  <a:pt x="636270" y="1021080"/>
                </a:lnTo>
                <a:lnTo>
                  <a:pt x="170179" y="1021080"/>
                </a:lnTo>
                <a:lnTo>
                  <a:pt x="124942" y="1015001"/>
                </a:lnTo>
                <a:lnTo>
                  <a:pt x="84290" y="997846"/>
                </a:lnTo>
                <a:lnTo>
                  <a:pt x="49847" y="971237"/>
                </a:lnTo>
                <a:lnTo>
                  <a:pt x="23236" y="936795"/>
                </a:lnTo>
                <a:lnTo>
                  <a:pt x="6079" y="896142"/>
                </a:lnTo>
                <a:lnTo>
                  <a:pt x="0" y="850900"/>
                </a:lnTo>
                <a:lnTo>
                  <a:pt x="0" y="595630"/>
                </a:lnTo>
                <a:lnTo>
                  <a:pt x="0" y="170180"/>
                </a:lnTo>
                <a:close/>
              </a:path>
            </a:pathLst>
          </a:custGeom>
          <a:ln w="28956">
            <a:solidFill>
              <a:srgbClr val="92C83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D34E8DA5-C82C-099A-DE8D-1AADB9EE36A8}"/>
              </a:ext>
            </a:extLst>
          </p:cNvPr>
          <p:cNvSpPr txBox="1"/>
          <p:nvPr/>
        </p:nvSpPr>
        <p:spPr>
          <a:xfrm>
            <a:off x="8406325" y="3995367"/>
            <a:ext cx="3137805" cy="756854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1903" algn="ctr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you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ave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he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bility</a:t>
            </a:r>
            <a:r>
              <a:rPr kumimoji="0" sz="1599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o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apture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hat’s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iscussed</a:t>
            </a:r>
            <a:r>
              <a:rPr kumimoji="0" sz="1599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s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art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of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routine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erformance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onversations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11" name="object 15">
            <a:extLst>
              <a:ext uri="{FF2B5EF4-FFF2-40B4-BE49-F238E27FC236}">
                <a16:creationId xmlns:a16="http://schemas.microsoft.com/office/drawing/2014/main" id="{461D0884-398B-A77C-965E-58981ABB39EF}"/>
              </a:ext>
            </a:extLst>
          </p:cNvPr>
          <p:cNvSpPr/>
          <p:nvPr/>
        </p:nvSpPr>
        <p:spPr>
          <a:xfrm>
            <a:off x="5828073" y="1239275"/>
            <a:ext cx="5527002" cy="869145"/>
          </a:xfrm>
          <a:custGeom>
            <a:avLst/>
            <a:gdLst/>
            <a:ahLst/>
            <a:cxnLst/>
            <a:rect l="l" t="t" r="r" b="b"/>
            <a:pathLst>
              <a:path w="5532120" h="869950">
                <a:moveTo>
                  <a:pt x="0" y="124968"/>
                </a:moveTo>
                <a:lnTo>
                  <a:pt x="9828" y="76348"/>
                </a:lnTo>
                <a:lnTo>
                  <a:pt x="36623" y="36623"/>
                </a:lnTo>
                <a:lnTo>
                  <a:pt x="76348" y="9828"/>
                </a:lnTo>
                <a:lnTo>
                  <a:pt x="124968" y="0"/>
                </a:lnTo>
                <a:lnTo>
                  <a:pt x="3227070" y="0"/>
                </a:lnTo>
                <a:lnTo>
                  <a:pt x="4610100" y="0"/>
                </a:lnTo>
                <a:lnTo>
                  <a:pt x="5407152" y="0"/>
                </a:lnTo>
                <a:lnTo>
                  <a:pt x="5455771" y="9828"/>
                </a:lnTo>
                <a:lnTo>
                  <a:pt x="5495496" y="36623"/>
                </a:lnTo>
                <a:lnTo>
                  <a:pt x="5522291" y="76348"/>
                </a:lnTo>
                <a:lnTo>
                  <a:pt x="5532120" y="124968"/>
                </a:lnTo>
                <a:lnTo>
                  <a:pt x="5532120" y="437388"/>
                </a:lnTo>
                <a:lnTo>
                  <a:pt x="5532120" y="624840"/>
                </a:lnTo>
                <a:lnTo>
                  <a:pt x="5522291" y="673459"/>
                </a:lnTo>
                <a:lnTo>
                  <a:pt x="5495496" y="713184"/>
                </a:lnTo>
                <a:lnTo>
                  <a:pt x="5455771" y="739979"/>
                </a:lnTo>
                <a:lnTo>
                  <a:pt x="5407152" y="749808"/>
                </a:lnTo>
                <a:lnTo>
                  <a:pt x="4610100" y="749808"/>
                </a:lnTo>
                <a:lnTo>
                  <a:pt x="3097022" y="869442"/>
                </a:lnTo>
                <a:lnTo>
                  <a:pt x="3227070" y="749808"/>
                </a:lnTo>
                <a:lnTo>
                  <a:pt x="124968" y="749808"/>
                </a:lnTo>
                <a:lnTo>
                  <a:pt x="76348" y="739979"/>
                </a:lnTo>
                <a:lnTo>
                  <a:pt x="36623" y="713184"/>
                </a:lnTo>
                <a:lnTo>
                  <a:pt x="9828" y="673459"/>
                </a:lnTo>
                <a:lnTo>
                  <a:pt x="0" y="624840"/>
                </a:lnTo>
                <a:lnTo>
                  <a:pt x="0" y="437388"/>
                </a:lnTo>
                <a:lnTo>
                  <a:pt x="0" y="124968"/>
                </a:lnTo>
                <a:close/>
              </a:path>
            </a:pathLst>
          </a:custGeom>
          <a:ln w="28956">
            <a:solidFill>
              <a:srgbClr val="92C83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6">
            <a:extLst>
              <a:ext uri="{FF2B5EF4-FFF2-40B4-BE49-F238E27FC236}">
                <a16:creationId xmlns:a16="http://schemas.microsoft.com/office/drawing/2014/main" id="{37485D9F-8F9A-0E9B-2C60-9A13025AC14F}"/>
              </a:ext>
            </a:extLst>
          </p:cNvPr>
          <p:cNvSpPr txBox="1"/>
          <p:nvPr/>
        </p:nvSpPr>
        <p:spPr>
          <a:xfrm>
            <a:off x="6194636" y="1349789"/>
            <a:ext cx="4789181" cy="512605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95799" algn="l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hat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eedback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re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ou</a:t>
            </a:r>
            <a:r>
              <a:rPr kumimoji="0" sz="1599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getting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rom</a:t>
            </a:r>
            <a:r>
              <a:rPr kumimoji="0" sz="1599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managers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nd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ployees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bout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our</a:t>
            </a:r>
            <a:r>
              <a:rPr kumimoji="0" sz="1599" b="0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urrent</a:t>
            </a:r>
            <a:r>
              <a:rPr kumimoji="0" sz="1599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erformance</a:t>
            </a:r>
            <a:r>
              <a:rPr kumimoji="0" sz="1599" b="0" i="0" u="none" strike="noStrike" kern="1200" cap="none" spc="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rocess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13" name="object 17">
            <a:extLst>
              <a:ext uri="{FF2B5EF4-FFF2-40B4-BE49-F238E27FC236}">
                <a16:creationId xmlns:a16="http://schemas.microsoft.com/office/drawing/2014/main" id="{5AB9B141-0F8B-6205-8C89-F889915F1A7A}"/>
              </a:ext>
            </a:extLst>
          </p:cNvPr>
          <p:cNvSpPr/>
          <p:nvPr/>
        </p:nvSpPr>
        <p:spPr>
          <a:xfrm>
            <a:off x="263005" y="3900763"/>
            <a:ext cx="3051525" cy="1478816"/>
          </a:xfrm>
          <a:custGeom>
            <a:avLst/>
            <a:gdLst/>
            <a:ahLst/>
            <a:cxnLst/>
            <a:rect l="l" t="t" r="r" b="b"/>
            <a:pathLst>
              <a:path w="3054350" h="1480185">
                <a:moveTo>
                  <a:pt x="0" y="215646"/>
                </a:moveTo>
                <a:lnTo>
                  <a:pt x="5695" y="166191"/>
                </a:lnTo>
                <a:lnTo>
                  <a:pt x="21918" y="120798"/>
                </a:lnTo>
                <a:lnTo>
                  <a:pt x="47374" y="80758"/>
                </a:lnTo>
                <a:lnTo>
                  <a:pt x="80769" y="47366"/>
                </a:lnTo>
                <a:lnTo>
                  <a:pt x="120809" y="21913"/>
                </a:lnTo>
                <a:lnTo>
                  <a:pt x="166199" y="5693"/>
                </a:lnTo>
                <a:lnTo>
                  <a:pt x="215645" y="0"/>
                </a:lnTo>
                <a:lnTo>
                  <a:pt x="509016" y="0"/>
                </a:lnTo>
                <a:lnTo>
                  <a:pt x="1272540" y="0"/>
                </a:lnTo>
                <a:lnTo>
                  <a:pt x="2838450" y="0"/>
                </a:lnTo>
                <a:lnTo>
                  <a:pt x="2887904" y="5693"/>
                </a:lnTo>
                <a:lnTo>
                  <a:pt x="2933297" y="21913"/>
                </a:lnTo>
                <a:lnTo>
                  <a:pt x="2973337" y="47366"/>
                </a:lnTo>
                <a:lnTo>
                  <a:pt x="3006729" y="80758"/>
                </a:lnTo>
                <a:lnTo>
                  <a:pt x="3032182" y="120798"/>
                </a:lnTo>
                <a:lnTo>
                  <a:pt x="3048402" y="166191"/>
                </a:lnTo>
                <a:lnTo>
                  <a:pt x="3054096" y="215646"/>
                </a:lnTo>
                <a:lnTo>
                  <a:pt x="3054096" y="754761"/>
                </a:lnTo>
                <a:lnTo>
                  <a:pt x="3054096" y="1078230"/>
                </a:lnTo>
                <a:lnTo>
                  <a:pt x="3048402" y="1127676"/>
                </a:lnTo>
                <a:lnTo>
                  <a:pt x="3032182" y="1173066"/>
                </a:lnTo>
                <a:lnTo>
                  <a:pt x="3006729" y="1213106"/>
                </a:lnTo>
                <a:lnTo>
                  <a:pt x="2973337" y="1246501"/>
                </a:lnTo>
                <a:lnTo>
                  <a:pt x="2933297" y="1271957"/>
                </a:lnTo>
                <a:lnTo>
                  <a:pt x="2887904" y="1288180"/>
                </a:lnTo>
                <a:lnTo>
                  <a:pt x="2838450" y="1293876"/>
                </a:lnTo>
                <a:lnTo>
                  <a:pt x="1272540" y="1293876"/>
                </a:lnTo>
                <a:lnTo>
                  <a:pt x="734415" y="1479994"/>
                </a:lnTo>
                <a:lnTo>
                  <a:pt x="509016" y="1293876"/>
                </a:lnTo>
                <a:lnTo>
                  <a:pt x="215645" y="1293876"/>
                </a:lnTo>
                <a:lnTo>
                  <a:pt x="166199" y="1288180"/>
                </a:lnTo>
                <a:lnTo>
                  <a:pt x="120809" y="1271957"/>
                </a:lnTo>
                <a:lnTo>
                  <a:pt x="80769" y="1246501"/>
                </a:lnTo>
                <a:lnTo>
                  <a:pt x="47374" y="1213106"/>
                </a:lnTo>
                <a:lnTo>
                  <a:pt x="21918" y="1173066"/>
                </a:lnTo>
                <a:lnTo>
                  <a:pt x="5695" y="1127676"/>
                </a:lnTo>
                <a:lnTo>
                  <a:pt x="0" y="1078230"/>
                </a:lnTo>
                <a:lnTo>
                  <a:pt x="0" y="754761"/>
                </a:lnTo>
                <a:lnTo>
                  <a:pt x="0" y="215646"/>
                </a:lnTo>
                <a:close/>
              </a:path>
            </a:pathLst>
          </a:custGeom>
          <a:ln w="28956">
            <a:solidFill>
              <a:srgbClr val="EFAB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8">
            <a:extLst>
              <a:ext uri="{FF2B5EF4-FFF2-40B4-BE49-F238E27FC236}">
                <a16:creationId xmlns:a16="http://schemas.microsoft.com/office/drawing/2014/main" id="{D62FF7C9-C570-6A9A-2CD6-06827F947634}"/>
              </a:ext>
            </a:extLst>
          </p:cNvPr>
          <p:cNvSpPr txBox="1"/>
          <p:nvPr/>
        </p:nvSpPr>
        <p:spPr>
          <a:xfrm>
            <a:off x="494693" y="4038050"/>
            <a:ext cx="2583328" cy="999834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3807" algn="ctr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</a:t>
            </a:r>
            <a:r>
              <a:rPr kumimoji="0" sz="1599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managers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ave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visibility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nto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rogress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gainst goals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nd key achievements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hen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hey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occur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n real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ime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15" name="object 19">
            <a:extLst>
              <a:ext uri="{FF2B5EF4-FFF2-40B4-BE49-F238E27FC236}">
                <a16:creationId xmlns:a16="http://schemas.microsoft.com/office/drawing/2014/main" id="{48DDD6A8-3FEC-AD42-B77F-32B7DCCB7D0B}"/>
              </a:ext>
            </a:extLst>
          </p:cNvPr>
          <p:cNvSpPr/>
          <p:nvPr/>
        </p:nvSpPr>
        <p:spPr>
          <a:xfrm>
            <a:off x="520324" y="2259410"/>
            <a:ext cx="2323853" cy="1478181"/>
          </a:xfrm>
          <a:custGeom>
            <a:avLst/>
            <a:gdLst/>
            <a:ahLst/>
            <a:cxnLst/>
            <a:rect l="l" t="t" r="r" b="b"/>
            <a:pathLst>
              <a:path w="2326005" h="1479550">
                <a:moveTo>
                  <a:pt x="0" y="215645"/>
                </a:moveTo>
                <a:lnTo>
                  <a:pt x="5695" y="166191"/>
                </a:lnTo>
                <a:lnTo>
                  <a:pt x="21918" y="120798"/>
                </a:lnTo>
                <a:lnTo>
                  <a:pt x="47374" y="80758"/>
                </a:lnTo>
                <a:lnTo>
                  <a:pt x="80769" y="47366"/>
                </a:lnTo>
                <a:lnTo>
                  <a:pt x="120809" y="21913"/>
                </a:lnTo>
                <a:lnTo>
                  <a:pt x="166199" y="5693"/>
                </a:lnTo>
                <a:lnTo>
                  <a:pt x="215645" y="0"/>
                </a:lnTo>
                <a:lnTo>
                  <a:pt x="1356614" y="0"/>
                </a:lnTo>
                <a:lnTo>
                  <a:pt x="1938020" y="0"/>
                </a:lnTo>
                <a:lnTo>
                  <a:pt x="2109978" y="0"/>
                </a:lnTo>
                <a:lnTo>
                  <a:pt x="2159432" y="5693"/>
                </a:lnTo>
                <a:lnTo>
                  <a:pt x="2204825" y="21913"/>
                </a:lnTo>
                <a:lnTo>
                  <a:pt x="2244865" y="47366"/>
                </a:lnTo>
                <a:lnTo>
                  <a:pt x="2278257" y="80758"/>
                </a:lnTo>
                <a:lnTo>
                  <a:pt x="2303710" y="120798"/>
                </a:lnTo>
                <a:lnTo>
                  <a:pt x="2319930" y="166191"/>
                </a:lnTo>
                <a:lnTo>
                  <a:pt x="2325624" y="215645"/>
                </a:lnTo>
                <a:lnTo>
                  <a:pt x="2325624" y="754760"/>
                </a:lnTo>
                <a:lnTo>
                  <a:pt x="2325624" y="1078229"/>
                </a:lnTo>
                <a:lnTo>
                  <a:pt x="2319930" y="1127684"/>
                </a:lnTo>
                <a:lnTo>
                  <a:pt x="2303710" y="1173077"/>
                </a:lnTo>
                <a:lnTo>
                  <a:pt x="2278257" y="1213117"/>
                </a:lnTo>
                <a:lnTo>
                  <a:pt x="2244865" y="1246509"/>
                </a:lnTo>
                <a:lnTo>
                  <a:pt x="2204825" y="1271962"/>
                </a:lnTo>
                <a:lnTo>
                  <a:pt x="2159432" y="1288182"/>
                </a:lnTo>
                <a:lnTo>
                  <a:pt x="2109978" y="1293876"/>
                </a:lnTo>
                <a:lnTo>
                  <a:pt x="1938020" y="1293876"/>
                </a:lnTo>
                <a:lnTo>
                  <a:pt x="1360043" y="1479422"/>
                </a:lnTo>
                <a:lnTo>
                  <a:pt x="1356614" y="1293876"/>
                </a:lnTo>
                <a:lnTo>
                  <a:pt x="215645" y="1293876"/>
                </a:lnTo>
                <a:lnTo>
                  <a:pt x="166199" y="1288182"/>
                </a:lnTo>
                <a:lnTo>
                  <a:pt x="120809" y="1271962"/>
                </a:lnTo>
                <a:lnTo>
                  <a:pt x="80769" y="1246509"/>
                </a:lnTo>
                <a:lnTo>
                  <a:pt x="47374" y="1213117"/>
                </a:lnTo>
                <a:lnTo>
                  <a:pt x="21918" y="1173077"/>
                </a:lnTo>
                <a:lnTo>
                  <a:pt x="5695" y="1127684"/>
                </a:lnTo>
                <a:lnTo>
                  <a:pt x="0" y="1078229"/>
                </a:lnTo>
                <a:lnTo>
                  <a:pt x="0" y="754760"/>
                </a:lnTo>
                <a:lnTo>
                  <a:pt x="0" y="215645"/>
                </a:lnTo>
                <a:close/>
              </a:path>
            </a:pathLst>
          </a:custGeom>
          <a:ln w="28956">
            <a:solidFill>
              <a:srgbClr val="0EAA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20">
            <a:extLst>
              <a:ext uri="{FF2B5EF4-FFF2-40B4-BE49-F238E27FC236}">
                <a16:creationId xmlns:a16="http://schemas.microsoft.com/office/drawing/2014/main" id="{C3223899-E621-20F7-BA2B-825D8E8D0FFD}"/>
              </a:ext>
            </a:extLst>
          </p:cNvPr>
          <p:cNvSpPr txBox="1"/>
          <p:nvPr/>
        </p:nvSpPr>
        <p:spPr>
          <a:xfrm>
            <a:off x="738003" y="2396698"/>
            <a:ext cx="1885474" cy="999834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0" algn="ctr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re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ou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ble to track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hether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manager-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ployee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1:1s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appen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17" name="object 21">
            <a:extLst>
              <a:ext uri="{FF2B5EF4-FFF2-40B4-BE49-F238E27FC236}">
                <a16:creationId xmlns:a16="http://schemas.microsoft.com/office/drawing/2014/main" id="{7A011E83-7BA3-BC07-17ED-3F684ED9A999}"/>
              </a:ext>
            </a:extLst>
          </p:cNvPr>
          <p:cNvSpPr/>
          <p:nvPr/>
        </p:nvSpPr>
        <p:spPr>
          <a:xfrm>
            <a:off x="8384501" y="2394922"/>
            <a:ext cx="3505130" cy="912285"/>
          </a:xfrm>
          <a:custGeom>
            <a:avLst/>
            <a:gdLst/>
            <a:ahLst/>
            <a:cxnLst/>
            <a:rect l="l" t="t" r="r" b="b"/>
            <a:pathLst>
              <a:path w="3508375" h="913129">
                <a:moveTo>
                  <a:pt x="0" y="124967"/>
                </a:moveTo>
                <a:lnTo>
                  <a:pt x="9828" y="76348"/>
                </a:lnTo>
                <a:lnTo>
                  <a:pt x="36623" y="36623"/>
                </a:lnTo>
                <a:lnTo>
                  <a:pt x="76348" y="9828"/>
                </a:lnTo>
                <a:lnTo>
                  <a:pt x="124968" y="0"/>
                </a:lnTo>
                <a:lnTo>
                  <a:pt x="2046477" y="0"/>
                </a:lnTo>
                <a:lnTo>
                  <a:pt x="2923539" y="0"/>
                </a:lnTo>
                <a:lnTo>
                  <a:pt x="3383279" y="0"/>
                </a:lnTo>
                <a:lnTo>
                  <a:pt x="3431899" y="9828"/>
                </a:lnTo>
                <a:lnTo>
                  <a:pt x="3471624" y="36623"/>
                </a:lnTo>
                <a:lnTo>
                  <a:pt x="3498419" y="76348"/>
                </a:lnTo>
                <a:lnTo>
                  <a:pt x="3508248" y="124967"/>
                </a:lnTo>
                <a:lnTo>
                  <a:pt x="3508248" y="437387"/>
                </a:lnTo>
                <a:lnTo>
                  <a:pt x="3508248" y="624839"/>
                </a:lnTo>
                <a:lnTo>
                  <a:pt x="3498419" y="673459"/>
                </a:lnTo>
                <a:lnTo>
                  <a:pt x="3471624" y="713184"/>
                </a:lnTo>
                <a:lnTo>
                  <a:pt x="3431899" y="739979"/>
                </a:lnTo>
                <a:lnTo>
                  <a:pt x="3383279" y="749807"/>
                </a:lnTo>
                <a:lnTo>
                  <a:pt x="2923539" y="749807"/>
                </a:lnTo>
                <a:lnTo>
                  <a:pt x="3260852" y="912748"/>
                </a:lnTo>
                <a:lnTo>
                  <a:pt x="2046477" y="749807"/>
                </a:lnTo>
                <a:lnTo>
                  <a:pt x="124968" y="749807"/>
                </a:lnTo>
                <a:lnTo>
                  <a:pt x="76348" y="739979"/>
                </a:lnTo>
                <a:lnTo>
                  <a:pt x="36623" y="713184"/>
                </a:lnTo>
                <a:lnTo>
                  <a:pt x="9828" y="673459"/>
                </a:lnTo>
                <a:lnTo>
                  <a:pt x="0" y="624839"/>
                </a:lnTo>
                <a:lnTo>
                  <a:pt x="0" y="437387"/>
                </a:lnTo>
                <a:lnTo>
                  <a:pt x="0" y="124967"/>
                </a:lnTo>
                <a:close/>
              </a:path>
            </a:pathLst>
          </a:custGeom>
          <a:ln w="28955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bject 22">
            <a:extLst>
              <a:ext uri="{FF2B5EF4-FFF2-40B4-BE49-F238E27FC236}">
                <a16:creationId xmlns:a16="http://schemas.microsoft.com/office/drawing/2014/main" id="{DFF77A44-9358-F828-8C1B-249199F06A92}"/>
              </a:ext>
            </a:extLst>
          </p:cNvPr>
          <p:cNvSpPr txBox="1"/>
          <p:nvPr/>
        </p:nvSpPr>
        <p:spPr>
          <a:xfrm>
            <a:off x="8509354" y="2506325"/>
            <a:ext cx="3254537" cy="512605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441561" marR="5075" lvl="0" indent="-429508" algn="l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</a:t>
            </a:r>
            <a:r>
              <a:rPr kumimoji="0" sz="1599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ployees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struggle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o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rite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self-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ssessments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t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ear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nd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21" name="object 25">
            <a:extLst>
              <a:ext uri="{FF2B5EF4-FFF2-40B4-BE49-F238E27FC236}">
                <a16:creationId xmlns:a16="http://schemas.microsoft.com/office/drawing/2014/main" id="{43B013E4-42B2-F85A-1136-E21DA4D1D7D8}"/>
              </a:ext>
            </a:extLst>
          </p:cNvPr>
          <p:cNvSpPr txBox="1">
            <a:spLocks/>
          </p:cNvSpPr>
          <p:nvPr/>
        </p:nvSpPr>
        <p:spPr>
          <a:xfrm>
            <a:off x="11382024" y="5670086"/>
            <a:ext cx="217170" cy="1536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66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n-US" sz="999" b="0" i="0" u="none" strike="noStrike" kern="1200" cap="none" spc="-5" normalizeH="0" baseline="0" noProof="0" smtClean="0">
                <a:ln>
                  <a:noFill/>
                </a:ln>
                <a:solidFill>
                  <a:srgbClr val="B8B8B8"/>
                </a:solidFill>
                <a:effectLst/>
                <a:uLnTx/>
                <a:uFillTx/>
                <a:latin typeface="Arial MT"/>
                <a:ea typeface="+mn-ea"/>
                <a:cs typeface="+mn-cs"/>
              </a:rPr>
              <a:pPr marL="38066" marR="0" lvl="0" indent="0" algn="l" defTabSz="913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99" b="0" i="0" u="none" strike="noStrike" kern="1200" cap="none" spc="-5" normalizeH="0" baseline="0" noProof="0" dirty="0">
              <a:ln>
                <a:noFill/>
              </a:ln>
              <a:solidFill>
                <a:srgbClr val="B8B8B8"/>
              </a:solidFill>
              <a:effectLst/>
              <a:uLnTx/>
              <a:uFillTx/>
              <a:latin typeface="Arial MT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C0F67E-5922-30FB-A9C3-887BE431717B}"/>
              </a:ext>
            </a:extLst>
          </p:cNvPr>
          <p:cNvSpPr txBox="1"/>
          <p:nvPr/>
        </p:nvSpPr>
        <p:spPr>
          <a:xfrm>
            <a:off x="592806" y="5718485"/>
            <a:ext cx="1325432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2545" marR="829944">
              <a:spcBef>
                <a:spcPts val="1155"/>
              </a:spcBef>
              <a:defRPr/>
            </a:pPr>
            <a:r>
              <a:rPr lang="en-US" sz="2000" i="1" dirty="0">
                <a:latin typeface="+mj-lt"/>
                <a:cs typeface="Calibri" panose="020F0502020204030204" pitchFamily="34" charset="0"/>
              </a:rPr>
              <a:t>What </a:t>
            </a:r>
            <a:r>
              <a:rPr lang="en-US" sz="2000" i="1" spc="-484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happens</a:t>
            </a:r>
            <a:r>
              <a:rPr lang="en-US" sz="2000" i="1" spc="25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outside</a:t>
            </a:r>
            <a:r>
              <a:rPr lang="en-US" sz="2000" i="1" spc="5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dirty="0">
                <a:latin typeface="+mj-lt"/>
                <a:cs typeface="Calibri" panose="020F0502020204030204" pitchFamily="34" charset="0"/>
              </a:rPr>
              <a:t>of</a:t>
            </a:r>
            <a:r>
              <a:rPr lang="en-US" sz="2000" i="1" spc="-1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dirty="0">
                <a:latin typeface="+mj-lt"/>
                <a:cs typeface="Calibri" panose="020F0502020204030204" pitchFamily="34" charset="0"/>
              </a:rPr>
              <a:t>the</a:t>
            </a:r>
            <a:r>
              <a:rPr lang="en-US" sz="2000" i="1" spc="-1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technology</a:t>
            </a:r>
            <a:r>
              <a:rPr lang="en-US" sz="2000" i="1" spc="2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is</a:t>
            </a:r>
            <a:r>
              <a:rPr lang="en-US" sz="2000" i="1" dirty="0">
                <a:latin typeface="+mj-lt"/>
                <a:cs typeface="Calibri" panose="020F0502020204030204" pitchFamily="34" charset="0"/>
              </a:rPr>
              <a:t> often</a:t>
            </a:r>
            <a:r>
              <a:rPr lang="en-US" sz="2000" i="1" spc="-1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15" dirty="0">
                <a:latin typeface="+mj-lt"/>
                <a:cs typeface="Calibri" panose="020F0502020204030204" pitchFamily="34" charset="0"/>
              </a:rPr>
              <a:t>what</a:t>
            </a:r>
            <a:r>
              <a:rPr lang="en-US" sz="2000" i="1" spc="4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determines</a:t>
            </a:r>
            <a:r>
              <a:rPr lang="en-US" sz="2000" i="1" spc="25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10" dirty="0">
                <a:latin typeface="+mj-lt"/>
                <a:cs typeface="Calibri" panose="020F0502020204030204" pitchFamily="34" charset="0"/>
              </a:rPr>
              <a:t>whether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 continuous</a:t>
            </a:r>
            <a:r>
              <a:rPr lang="en-US" sz="2000" i="1" spc="25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performance</a:t>
            </a:r>
            <a:r>
              <a:rPr lang="en-US" sz="2000" i="1" spc="1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management has an impact</a:t>
            </a:r>
            <a:endParaRPr kumimoji="0" lang="en-US" sz="2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8868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7C4172-BE11-4919-8798-26025AE49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97" y="203335"/>
            <a:ext cx="11725507" cy="1908215"/>
          </a:xfrm>
        </p:spPr>
        <p:txBody>
          <a:bodyPr/>
          <a:lstStyle/>
          <a:p>
            <a:r>
              <a:rPr lang="en-US" sz="3600" dirty="0"/>
              <a:t>So how do we communicate the value of CPM?</a:t>
            </a:r>
            <a:br>
              <a:rPr lang="en-US" sz="3600" dirty="0"/>
            </a:b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l it internally to all our employees</a:t>
            </a:r>
            <a:b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lang="en-US" sz="3600" dirty="0"/>
            </a:br>
            <a:r>
              <a:rPr lang="en-US" sz="3600" dirty="0"/>
              <a:t> </a:t>
            </a:r>
            <a:endParaRPr lang="en-US" sz="3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6AE0FB-7728-4B29-B858-D7B5B016F2B6}"/>
              </a:ext>
            </a:extLst>
          </p:cNvPr>
          <p:cNvSpPr txBox="1"/>
          <p:nvPr/>
        </p:nvSpPr>
        <p:spPr>
          <a:xfrm>
            <a:off x="265667" y="1485752"/>
            <a:ext cx="6646213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awareness,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000000"/>
              </a:solidFill>
              <a:latin typeface="Arial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Arial"/>
              </a:rPr>
              <a:t>G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at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est,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ucate, prompt and remind employees and managers to have quality conversations,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check-ins and embrace the technology to effectively drive change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AE4FB6-216B-9612-81FE-78A61D559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3949" y="1103106"/>
            <a:ext cx="4599913" cy="4865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614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3E370-EBDE-F6A2-64A1-5ECE5EB26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147" y="226701"/>
            <a:ext cx="11725484" cy="314028"/>
          </a:xfrm>
        </p:spPr>
        <p:txBody>
          <a:bodyPr/>
          <a:lstStyle/>
          <a:p>
            <a:r>
              <a:rPr lang="en-US" dirty="0"/>
              <a:t>CPM Plan Overview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ECBD88D-D1C3-82C6-B6A6-CA927675A4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6942530"/>
              </p:ext>
            </p:extLst>
          </p:nvPr>
        </p:nvGraphicFramePr>
        <p:xfrm>
          <a:off x="233257" y="1023217"/>
          <a:ext cx="11725485" cy="5005527"/>
        </p:xfrm>
        <a:graphic>
          <a:graphicData uri="http://schemas.openxmlformats.org/drawingml/2006/table">
            <a:tbl>
              <a:tblPr firstRow="1" bandRow="1"/>
              <a:tblGrid>
                <a:gridCol w="1386221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3831226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1260427765"/>
                    </a:ext>
                  </a:extLst>
                </a:gridCol>
                <a:gridCol w="1454763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369539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5160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2000" b="1" i="0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countability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459462"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c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thly nudges to create buzz around activ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 from AATC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 with iGrow acces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Ma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840140"/>
                  </a:ext>
                </a:extLst>
              </a:tr>
              <a:tr h="7263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to be printed and displayed in different locations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Printed &amp; Displayed in locations with a QR code to access the eLearning modul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49748"/>
                  </a:ext>
                </a:extLst>
              </a:tr>
              <a:tr h="7263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-mail communication to roll out the eLearning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Communication / AATC communication with QR code to access the learning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1379412"/>
                  </a:ext>
                </a:extLst>
              </a:tr>
              <a:tr h="75588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ining sessions on CPM to all employees via the Open calendar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May - Oct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679395"/>
                  </a:ext>
                </a:extLst>
              </a:tr>
              <a:tr h="72637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liver session on feedback and coaching via open calendar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Trainer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May – De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929334"/>
                  </a:ext>
                </a:extLst>
              </a:tr>
              <a:tr h="841084"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2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eader board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32962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rterly Leaderboards to track utiliz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mai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D’s/HRBP’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 June- De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22689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89189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FD0F4-C195-5F6B-F864-8AFD5D47B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mpaign unpacked- Communicatio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C451D9F-34E4-4227-6B1A-F6527CF766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2938942"/>
              </p:ext>
            </p:extLst>
          </p:nvPr>
        </p:nvGraphicFramePr>
        <p:xfrm>
          <a:off x="164146" y="688481"/>
          <a:ext cx="11725485" cy="2682184"/>
        </p:xfrm>
        <a:graphic>
          <a:graphicData uri="http://schemas.openxmlformats.org/drawingml/2006/table">
            <a:tbl>
              <a:tblPr firstRow="1" bandRow="1"/>
              <a:tblGrid>
                <a:gridCol w="1386221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3831226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1260427765"/>
                    </a:ext>
                  </a:extLst>
                </a:gridCol>
                <a:gridCol w="1454763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369539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5160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2000" b="1" i="0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countability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459462"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c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thly nudges to create buzz around activ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 from AATC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 with iGrow acces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y – Jun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840140"/>
                  </a:ext>
                </a:extLst>
              </a:tr>
              <a:tr h="7263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to be printed and displayed in different locations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Printed &amp; Displayed in locations with a QR code to access the eLearning modul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49748"/>
                  </a:ext>
                </a:extLst>
              </a:tr>
              <a:tr h="7263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-mail communication to roll out the eLearning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Communication / AATC communication with QR code to access the learning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1379412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DF7F876A-1F89-3886-34FC-F0B685CD7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429000"/>
            <a:ext cx="4590995" cy="275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96A79B1-9A48-2193-7D56-2C1E0BB1B2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22458" y="3429000"/>
            <a:ext cx="3798137" cy="33713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53C666C-94C7-6CAF-40F8-03A1FFC85B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0564" y="3750649"/>
            <a:ext cx="1194743" cy="21068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Google Shape;2059;p66">
            <a:extLst>
              <a:ext uri="{FF2B5EF4-FFF2-40B4-BE49-F238E27FC236}">
                <a16:creationId xmlns:a16="http://schemas.microsoft.com/office/drawing/2014/main" id="{3858AF93-F7FC-ABF5-FC59-A6ED7725CBC3}"/>
              </a:ext>
            </a:extLst>
          </p:cNvPr>
          <p:cNvSpPr/>
          <p:nvPr/>
        </p:nvSpPr>
        <p:spPr>
          <a:xfrm>
            <a:off x="4294240" y="3445012"/>
            <a:ext cx="1018000" cy="1018000"/>
          </a:xfrm>
          <a:prstGeom prst="ellipse">
            <a:avLst/>
          </a:prstGeom>
          <a:gradFill>
            <a:gsLst>
              <a:gs pos="0">
                <a:schemeClr val="lt1"/>
              </a:gs>
              <a:gs pos="50000">
                <a:srgbClr val="F2F2F2"/>
              </a:gs>
              <a:gs pos="100000">
                <a:srgbClr val="D8D8D8"/>
              </a:gs>
            </a:gsLst>
            <a:lin ang="5400012" scaled="0"/>
          </a:gradFill>
          <a:ln>
            <a:noFill/>
          </a:ln>
          <a:effectLst>
            <a:outerShdw blurRad="101600" dist="19050" dir="5400000" algn="ctr" rotWithShape="0">
              <a:srgbClr val="000000">
                <a:alpha val="62750"/>
              </a:srgbClr>
            </a:outerShdw>
          </a:effectLst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/>
            <a:endParaRPr sz="2400" dirty="0">
              <a:solidFill>
                <a:schemeClr val="dk1"/>
              </a:solidFill>
              <a:highlight>
                <a:srgbClr val="FFFFFF"/>
              </a:highlight>
              <a:latin typeface="Varela Round"/>
              <a:ea typeface="Varela Round"/>
              <a:cs typeface="Varela Round"/>
              <a:sym typeface="Varela Round"/>
            </a:endParaRPr>
          </a:p>
        </p:txBody>
      </p:sp>
      <p:pic>
        <p:nvPicPr>
          <p:cNvPr id="15" name="Graphic 14" descr="Address Book with solid fill">
            <a:extLst>
              <a:ext uri="{FF2B5EF4-FFF2-40B4-BE49-F238E27FC236}">
                <a16:creationId xmlns:a16="http://schemas.microsoft.com/office/drawing/2014/main" id="{915D329D-CD8D-EABA-B885-9F0807D15D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48535" y="3562883"/>
            <a:ext cx="735226" cy="735226"/>
          </a:xfrm>
          <a:prstGeom prst="rect">
            <a:avLst/>
          </a:prstGeom>
        </p:spPr>
      </p:pic>
      <p:sp>
        <p:nvSpPr>
          <p:cNvPr id="17" name="Google Shape;2109;p66">
            <a:extLst>
              <a:ext uri="{FF2B5EF4-FFF2-40B4-BE49-F238E27FC236}">
                <a16:creationId xmlns:a16="http://schemas.microsoft.com/office/drawing/2014/main" id="{611F39ED-954C-9AA4-7C93-5FCF5AC82C19}"/>
              </a:ext>
            </a:extLst>
          </p:cNvPr>
          <p:cNvSpPr txBox="1"/>
          <p:nvPr/>
        </p:nvSpPr>
        <p:spPr>
          <a:xfrm>
            <a:off x="6161288" y="5791636"/>
            <a:ext cx="1785474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467" dirty="0">
                <a:solidFill>
                  <a:schemeClr val="dk1"/>
                </a:solidFill>
                <a:highlight>
                  <a:srgbClr val="FFFFFF"/>
                </a:highlight>
                <a:latin typeface="+mj-lt"/>
                <a:cs typeface="Varela Round"/>
                <a:sym typeface="Lato"/>
              </a:rPr>
              <a:t>Poster campaigns          ( May/June</a:t>
            </a:r>
            <a:endParaRPr sz="1467" dirty="0">
              <a:solidFill>
                <a:schemeClr val="dk1"/>
              </a:solidFill>
              <a:highlight>
                <a:srgbClr val="FFFFFF"/>
              </a:highlight>
              <a:latin typeface="+mj-lt"/>
              <a:cs typeface="Varela Round"/>
              <a:sym typeface="Lato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3CA7FF9-9629-3D60-25E0-455F310701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81155" y="3838208"/>
            <a:ext cx="1855631" cy="18658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3C5B98A-E3D0-39B3-514D-36178D7F24A3}"/>
              </a:ext>
            </a:extLst>
          </p:cNvPr>
          <p:cNvSpPr txBox="1"/>
          <p:nvPr/>
        </p:nvSpPr>
        <p:spPr>
          <a:xfrm>
            <a:off x="2359257" y="3445012"/>
            <a:ext cx="473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b="1" dirty="0"/>
              <a:t>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51E7557-1D84-0931-B154-CAC07980FB0A}"/>
              </a:ext>
            </a:extLst>
          </p:cNvPr>
          <p:cNvSpPr txBox="1"/>
          <p:nvPr/>
        </p:nvSpPr>
        <p:spPr>
          <a:xfrm>
            <a:off x="6675584" y="3400186"/>
            <a:ext cx="473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b="1" dirty="0"/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10149C-4D7F-4B7F-94D4-81448DB22AC5}"/>
              </a:ext>
            </a:extLst>
          </p:cNvPr>
          <p:cNvSpPr txBox="1"/>
          <p:nvPr/>
        </p:nvSpPr>
        <p:spPr>
          <a:xfrm>
            <a:off x="10287876" y="3419770"/>
            <a:ext cx="473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8361275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6A9BAA-0DDF-B786-E42F-1EA35E61FD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7752" y="3016295"/>
            <a:ext cx="3078919" cy="12846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Google Shape;2061;p66">
            <a:extLst>
              <a:ext uri="{FF2B5EF4-FFF2-40B4-BE49-F238E27FC236}">
                <a16:creationId xmlns:a16="http://schemas.microsoft.com/office/drawing/2014/main" id="{C8B1665A-A086-C3D5-6AB9-5E6FCC9BF6F1}"/>
              </a:ext>
            </a:extLst>
          </p:cNvPr>
          <p:cNvSpPr/>
          <p:nvPr/>
        </p:nvSpPr>
        <p:spPr>
          <a:xfrm>
            <a:off x="343465" y="2553659"/>
            <a:ext cx="1018000" cy="1018000"/>
          </a:xfrm>
          <a:prstGeom prst="ellipse">
            <a:avLst/>
          </a:prstGeom>
          <a:gradFill>
            <a:gsLst>
              <a:gs pos="0">
                <a:schemeClr val="lt1"/>
              </a:gs>
              <a:gs pos="50000">
                <a:srgbClr val="F2F2F2"/>
              </a:gs>
              <a:gs pos="100000">
                <a:srgbClr val="D8D8D8"/>
              </a:gs>
            </a:gsLst>
            <a:lin ang="5400012" scaled="0"/>
          </a:gradFill>
          <a:ln>
            <a:noFill/>
          </a:ln>
          <a:effectLst>
            <a:outerShdw blurRad="101600" dist="19050" dir="5400000" algn="ctr" rotWithShape="0">
              <a:srgbClr val="000000">
                <a:alpha val="62750"/>
              </a:srgbClr>
            </a:outerShdw>
          </a:effectLst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/>
            <a:endParaRPr sz="1867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2C30D7-B01E-D9A9-F873-C0ED8D729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mpaign unpacked- Enablement session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F86DB3F-706A-FE22-3052-99859DAFE2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5107753"/>
              </p:ext>
            </p:extLst>
          </p:nvPr>
        </p:nvGraphicFramePr>
        <p:xfrm>
          <a:off x="164147" y="941573"/>
          <a:ext cx="11725485" cy="1271953"/>
        </p:xfrm>
        <a:graphic>
          <a:graphicData uri="http://schemas.openxmlformats.org/drawingml/2006/table">
            <a:tbl>
              <a:tblPr firstRow="1" bandRow="1"/>
              <a:tblGrid>
                <a:gridCol w="1386221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3831226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1260427765"/>
                    </a:ext>
                  </a:extLst>
                </a:gridCol>
                <a:gridCol w="1454763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369539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5160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2000" b="1" i="0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countability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75588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ining sessions on CPM to all employees via the Open calendar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May - Oct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679395"/>
                  </a:ext>
                </a:extLst>
              </a:tr>
            </a:tbl>
          </a:graphicData>
        </a:graphic>
      </p:graphicFrame>
      <p:grpSp>
        <p:nvGrpSpPr>
          <p:cNvPr id="6" name="Google Shape;2111;p66" descr="Customer review">
            <a:extLst>
              <a:ext uri="{FF2B5EF4-FFF2-40B4-BE49-F238E27FC236}">
                <a16:creationId xmlns:a16="http://schemas.microsoft.com/office/drawing/2014/main" id="{6F06E7BE-321E-BC6F-F45D-FDFD4CBF0FF0}"/>
              </a:ext>
            </a:extLst>
          </p:cNvPr>
          <p:cNvGrpSpPr/>
          <p:nvPr/>
        </p:nvGrpSpPr>
        <p:grpSpPr>
          <a:xfrm>
            <a:off x="606431" y="2751041"/>
            <a:ext cx="492068" cy="539813"/>
            <a:chOff x="4686460" y="3210584"/>
            <a:chExt cx="492068" cy="539813"/>
          </a:xfrm>
        </p:grpSpPr>
        <p:sp>
          <p:nvSpPr>
            <p:cNvPr id="7" name="Google Shape;2112;p66">
              <a:extLst>
                <a:ext uri="{FF2B5EF4-FFF2-40B4-BE49-F238E27FC236}">
                  <a16:creationId xmlns:a16="http://schemas.microsoft.com/office/drawing/2014/main" id="{430DF1C7-1567-ED47-845E-43297A95846A}"/>
                </a:ext>
              </a:extLst>
            </p:cNvPr>
            <p:cNvSpPr/>
            <p:nvPr/>
          </p:nvSpPr>
          <p:spPr>
            <a:xfrm>
              <a:off x="5021162" y="3487351"/>
              <a:ext cx="101877" cy="101877"/>
            </a:xfrm>
            <a:custGeom>
              <a:avLst/>
              <a:gdLst/>
              <a:ahLst/>
              <a:cxnLst/>
              <a:rect l="l" t="t" r="r" b="b"/>
              <a:pathLst>
                <a:path w="101877" h="101877" extrusionOk="0">
                  <a:moveTo>
                    <a:pt x="105681" y="52840"/>
                  </a:moveTo>
                  <a:cubicBezTo>
                    <a:pt x="105681" y="82023"/>
                    <a:pt x="82023" y="105681"/>
                    <a:pt x="52840" y="105681"/>
                  </a:cubicBezTo>
                  <a:cubicBezTo>
                    <a:pt x="23657" y="105681"/>
                    <a:pt x="0" y="82023"/>
                    <a:pt x="0" y="52840"/>
                  </a:cubicBezTo>
                  <a:cubicBezTo>
                    <a:pt x="0" y="23657"/>
                    <a:pt x="23657" y="0"/>
                    <a:pt x="52840" y="0"/>
                  </a:cubicBezTo>
                  <a:cubicBezTo>
                    <a:pt x="82023" y="0"/>
                    <a:pt x="105681" y="23657"/>
                    <a:pt x="105681" y="5284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2113;p66">
              <a:extLst>
                <a:ext uri="{FF2B5EF4-FFF2-40B4-BE49-F238E27FC236}">
                  <a16:creationId xmlns:a16="http://schemas.microsoft.com/office/drawing/2014/main" id="{31DA0385-1476-B680-8CC6-3C1D93C19EC0}"/>
                </a:ext>
              </a:extLst>
            </p:cNvPr>
            <p:cNvSpPr/>
            <p:nvPr/>
          </p:nvSpPr>
          <p:spPr>
            <a:xfrm>
              <a:off x="4739369" y="3487351"/>
              <a:ext cx="101877" cy="101877"/>
            </a:xfrm>
            <a:custGeom>
              <a:avLst/>
              <a:gdLst/>
              <a:ahLst/>
              <a:cxnLst/>
              <a:rect l="l" t="t" r="r" b="b"/>
              <a:pathLst>
                <a:path w="101877" h="101877" extrusionOk="0">
                  <a:moveTo>
                    <a:pt x="105681" y="52840"/>
                  </a:moveTo>
                  <a:cubicBezTo>
                    <a:pt x="105681" y="82023"/>
                    <a:pt x="82023" y="105681"/>
                    <a:pt x="52840" y="105681"/>
                  </a:cubicBezTo>
                  <a:cubicBezTo>
                    <a:pt x="23657" y="105681"/>
                    <a:pt x="0" y="82023"/>
                    <a:pt x="0" y="52840"/>
                  </a:cubicBezTo>
                  <a:cubicBezTo>
                    <a:pt x="0" y="23657"/>
                    <a:pt x="23657" y="0"/>
                    <a:pt x="52840" y="0"/>
                  </a:cubicBezTo>
                  <a:cubicBezTo>
                    <a:pt x="82023" y="0"/>
                    <a:pt x="105681" y="23657"/>
                    <a:pt x="105681" y="5284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2114;p66">
              <a:extLst>
                <a:ext uri="{FF2B5EF4-FFF2-40B4-BE49-F238E27FC236}">
                  <a16:creationId xmlns:a16="http://schemas.microsoft.com/office/drawing/2014/main" id="{D2AA8BF2-8777-BC4E-6191-A52E1B988E64}"/>
                </a:ext>
              </a:extLst>
            </p:cNvPr>
            <p:cNvSpPr/>
            <p:nvPr/>
          </p:nvSpPr>
          <p:spPr>
            <a:xfrm>
              <a:off x="4988357" y="3607362"/>
              <a:ext cx="190171" cy="101877"/>
            </a:xfrm>
            <a:custGeom>
              <a:avLst/>
              <a:gdLst/>
              <a:ahLst/>
              <a:cxnLst/>
              <a:rect l="l" t="t" r="r" b="b"/>
              <a:pathLst>
                <a:path w="190171" h="101877" extrusionOk="0">
                  <a:moveTo>
                    <a:pt x="180799" y="31447"/>
                  </a:moveTo>
                  <a:cubicBezTo>
                    <a:pt x="165554" y="19591"/>
                    <a:pt x="147920" y="11180"/>
                    <a:pt x="129113" y="6792"/>
                  </a:cubicBezTo>
                  <a:cubicBezTo>
                    <a:pt x="114977" y="2663"/>
                    <a:pt x="100366" y="379"/>
                    <a:pt x="85645" y="0"/>
                  </a:cubicBezTo>
                  <a:cubicBezTo>
                    <a:pt x="70912" y="-33"/>
                    <a:pt x="56264" y="2259"/>
                    <a:pt x="42245" y="6792"/>
                  </a:cubicBezTo>
                  <a:cubicBezTo>
                    <a:pt x="28215" y="10528"/>
                    <a:pt x="14807" y="16294"/>
                    <a:pt x="2445" y="23908"/>
                  </a:cubicBezTo>
                  <a:lnTo>
                    <a:pt x="0" y="26692"/>
                  </a:lnTo>
                  <a:cubicBezTo>
                    <a:pt x="19747" y="32023"/>
                    <a:pt x="38222" y="41261"/>
                    <a:pt x="54335" y="53860"/>
                  </a:cubicBezTo>
                  <a:cubicBezTo>
                    <a:pt x="66999" y="63164"/>
                    <a:pt x="74386" y="78015"/>
                    <a:pt x="74167" y="93728"/>
                  </a:cubicBezTo>
                  <a:lnTo>
                    <a:pt x="74167" y="105817"/>
                  </a:lnTo>
                  <a:lnTo>
                    <a:pt x="191326" y="105817"/>
                  </a:lnTo>
                  <a:lnTo>
                    <a:pt x="191326" y="52637"/>
                  </a:lnTo>
                  <a:cubicBezTo>
                    <a:pt x="191558" y="44263"/>
                    <a:pt x="187612" y="36321"/>
                    <a:pt x="180799" y="314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2115;p66">
              <a:extLst>
                <a:ext uri="{FF2B5EF4-FFF2-40B4-BE49-F238E27FC236}">
                  <a16:creationId xmlns:a16="http://schemas.microsoft.com/office/drawing/2014/main" id="{1B8C8C0A-1358-D735-594F-DE87AA0A24A7}"/>
                </a:ext>
              </a:extLst>
            </p:cNvPr>
            <p:cNvSpPr/>
            <p:nvPr/>
          </p:nvSpPr>
          <p:spPr>
            <a:xfrm>
              <a:off x="4686460" y="3607362"/>
              <a:ext cx="190171" cy="101877"/>
            </a:xfrm>
            <a:custGeom>
              <a:avLst/>
              <a:gdLst/>
              <a:ahLst/>
              <a:cxnLst/>
              <a:rect l="l" t="t" r="r" b="b"/>
              <a:pathLst>
                <a:path w="190171" h="101877" extrusionOk="0">
                  <a:moveTo>
                    <a:pt x="117431" y="93728"/>
                  </a:moveTo>
                  <a:cubicBezTo>
                    <a:pt x="117442" y="78428"/>
                    <a:pt x="124478" y="63981"/>
                    <a:pt x="136516" y="54539"/>
                  </a:cubicBezTo>
                  <a:lnTo>
                    <a:pt x="137263" y="53860"/>
                  </a:lnTo>
                  <a:lnTo>
                    <a:pt x="138146" y="53248"/>
                  </a:lnTo>
                  <a:cubicBezTo>
                    <a:pt x="154449" y="41647"/>
                    <a:pt x="172491" y="32706"/>
                    <a:pt x="191598" y="26760"/>
                  </a:cubicBezTo>
                  <a:cubicBezTo>
                    <a:pt x="190239" y="25334"/>
                    <a:pt x="188949" y="23840"/>
                    <a:pt x="187726" y="22346"/>
                  </a:cubicBezTo>
                  <a:cubicBezTo>
                    <a:pt x="175676" y="15345"/>
                    <a:pt x="162685" y="10107"/>
                    <a:pt x="149149" y="6792"/>
                  </a:cubicBezTo>
                  <a:cubicBezTo>
                    <a:pt x="135035" y="2668"/>
                    <a:pt x="120448" y="386"/>
                    <a:pt x="105749" y="0"/>
                  </a:cubicBezTo>
                  <a:cubicBezTo>
                    <a:pt x="90992" y="-38"/>
                    <a:pt x="76323" y="2255"/>
                    <a:pt x="62281" y="6792"/>
                  </a:cubicBezTo>
                  <a:cubicBezTo>
                    <a:pt x="43737" y="11908"/>
                    <a:pt x="26241" y="20254"/>
                    <a:pt x="10595" y="31447"/>
                  </a:cubicBezTo>
                  <a:cubicBezTo>
                    <a:pt x="4007" y="36517"/>
                    <a:pt x="104" y="44325"/>
                    <a:pt x="0" y="52637"/>
                  </a:cubicBezTo>
                  <a:lnTo>
                    <a:pt x="0" y="105817"/>
                  </a:lnTo>
                  <a:lnTo>
                    <a:pt x="117431" y="1058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2116;p66">
              <a:extLst>
                <a:ext uri="{FF2B5EF4-FFF2-40B4-BE49-F238E27FC236}">
                  <a16:creationId xmlns:a16="http://schemas.microsoft.com/office/drawing/2014/main" id="{07721C3B-2DF1-BED0-CB18-4E89148C6A01}"/>
                </a:ext>
              </a:extLst>
            </p:cNvPr>
            <p:cNvSpPr/>
            <p:nvPr/>
          </p:nvSpPr>
          <p:spPr>
            <a:xfrm>
              <a:off x="4827391" y="3648520"/>
              <a:ext cx="210546" cy="101877"/>
            </a:xfrm>
            <a:custGeom>
              <a:avLst/>
              <a:gdLst/>
              <a:ahLst/>
              <a:cxnLst/>
              <a:rect l="l" t="t" r="r" b="b"/>
              <a:pathLst>
                <a:path w="210546" h="101877" extrusionOk="0">
                  <a:moveTo>
                    <a:pt x="0" y="105411"/>
                  </a:moveTo>
                  <a:lnTo>
                    <a:pt x="0" y="52570"/>
                  </a:lnTo>
                  <a:cubicBezTo>
                    <a:pt x="32" y="44259"/>
                    <a:pt x="3953" y="36442"/>
                    <a:pt x="10595" y="31447"/>
                  </a:cubicBezTo>
                  <a:cubicBezTo>
                    <a:pt x="26210" y="20202"/>
                    <a:pt x="43716" y="11852"/>
                    <a:pt x="62281" y="6793"/>
                  </a:cubicBezTo>
                  <a:cubicBezTo>
                    <a:pt x="76293" y="2230"/>
                    <a:pt x="90945" y="-63"/>
                    <a:pt x="105681" y="1"/>
                  </a:cubicBezTo>
                  <a:cubicBezTo>
                    <a:pt x="120406" y="347"/>
                    <a:pt x="135020" y="2631"/>
                    <a:pt x="149149" y="6793"/>
                  </a:cubicBezTo>
                  <a:cubicBezTo>
                    <a:pt x="167976" y="11123"/>
                    <a:pt x="185621" y="19539"/>
                    <a:pt x="200835" y="31447"/>
                  </a:cubicBezTo>
                  <a:cubicBezTo>
                    <a:pt x="207673" y="36277"/>
                    <a:pt x="211648" y="44202"/>
                    <a:pt x="211430" y="52570"/>
                  </a:cubicBezTo>
                  <a:lnTo>
                    <a:pt x="211430" y="1054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2117;p66">
              <a:extLst>
                <a:ext uri="{FF2B5EF4-FFF2-40B4-BE49-F238E27FC236}">
                  <a16:creationId xmlns:a16="http://schemas.microsoft.com/office/drawing/2014/main" id="{1E22CDEA-CFBD-783E-015A-4D7EB1FA908B}"/>
                </a:ext>
              </a:extLst>
            </p:cNvPr>
            <p:cNvSpPr/>
            <p:nvPr/>
          </p:nvSpPr>
          <p:spPr>
            <a:xfrm>
              <a:off x="4880231" y="3528441"/>
              <a:ext cx="101877" cy="101877"/>
            </a:xfrm>
            <a:custGeom>
              <a:avLst/>
              <a:gdLst/>
              <a:ahLst/>
              <a:cxnLst/>
              <a:rect l="l" t="t" r="r" b="b"/>
              <a:pathLst>
                <a:path w="101877" h="101877" extrusionOk="0">
                  <a:moveTo>
                    <a:pt x="105681" y="52840"/>
                  </a:moveTo>
                  <a:cubicBezTo>
                    <a:pt x="105681" y="82023"/>
                    <a:pt x="82023" y="105681"/>
                    <a:pt x="52840" y="105681"/>
                  </a:cubicBezTo>
                  <a:cubicBezTo>
                    <a:pt x="23657" y="105681"/>
                    <a:pt x="0" y="82023"/>
                    <a:pt x="0" y="52840"/>
                  </a:cubicBezTo>
                  <a:cubicBezTo>
                    <a:pt x="0" y="23657"/>
                    <a:pt x="23657" y="0"/>
                    <a:pt x="52840" y="0"/>
                  </a:cubicBezTo>
                  <a:cubicBezTo>
                    <a:pt x="82023" y="0"/>
                    <a:pt x="105681" y="23657"/>
                    <a:pt x="105681" y="5284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2118;p66">
              <a:extLst>
                <a:ext uri="{FF2B5EF4-FFF2-40B4-BE49-F238E27FC236}">
                  <a16:creationId xmlns:a16="http://schemas.microsoft.com/office/drawing/2014/main" id="{121D4365-6678-2145-6079-BAA1E856589B}"/>
                </a:ext>
              </a:extLst>
            </p:cNvPr>
            <p:cNvSpPr/>
            <p:nvPr/>
          </p:nvSpPr>
          <p:spPr>
            <a:xfrm>
              <a:off x="4686868" y="3210584"/>
              <a:ext cx="489012" cy="244506"/>
            </a:xfrm>
            <a:custGeom>
              <a:avLst/>
              <a:gdLst/>
              <a:ahLst/>
              <a:cxnLst/>
              <a:rect l="l" t="t" r="r" b="b"/>
              <a:pathLst>
                <a:path w="489012" h="244506" extrusionOk="0">
                  <a:moveTo>
                    <a:pt x="466939" y="0"/>
                  </a:moveTo>
                  <a:lnTo>
                    <a:pt x="27167" y="0"/>
                  </a:lnTo>
                  <a:cubicBezTo>
                    <a:pt x="12163" y="0"/>
                    <a:pt x="0" y="12163"/>
                    <a:pt x="0" y="27167"/>
                  </a:cubicBezTo>
                  <a:lnTo>
                    <a:pt x="0" y="176588"/>
                  </a:lnTo>
                  <a:cubicBezTo>
                    <a:pt x="0" y="191592"/>
                    <a:pt x="12163" y="203755"/>
                    <a:pt x="27167" y="203755"/>
                  </a:cubicBezTo>
                  <a:lnTo>
                    <a:pt x="127347" y="203755"/>
                  </a:lnTo>
                  <a:lnTo>
                    <a:pt x="127347" y="244506"/>
                  </a:lnTo>
                  <a:lnTo>
                    <a:pt x="170135" y="203755"/>
                  </a:lnTo>
                  <a:lnTo>
                    <a:pt x="216320" y="203755"/>
                  </a:lnTo>
                  <a:lnTo>
                    <a:pt x="242808" y="244506"/>
                  </a:lnTo>
                  <a:lnTo>
                    <a:pt x="267259" y="203755"/>
                  </a:lnTo>
                  <a:lnTo>
                    <a:pt x="315481" y="203755"/>
                  </a:lnTo>
                  <a:lnTo>
                    <a:pt x="358269" y="244506"/>
                  </a:lnTo>
                  <a:lnTo>
                    <a:pt x="358269" y="203755"/>
                  </a:lnTo>
                  <a:lnTo>
                    <a:pt x="466939" y="203755"/>
                  </a:lnTo>
                  <a:cubicBezTo>
                    <a:pt x="481942" y="203755"/>
                    <a:pt x="494106" y="191592"/>
                    <a:pt x="494106" y="176588"/>
                  </a:cubicBezTo>
                  <a:lnTo>
                    <a:pt x="494106" y="27167"/>
                  </a:lnTo>
                  <a:cubicBezTo>
                    <a:pt x="494106" y="12163"/>
                    <a:pt x="481942" y="0"/>
                    <a:pt x="466939" y="0"/>
                  </a:cubicBezTo>
                  <a:close/>
                  <a:moveTo>
                    <a:pt x="67918" y="61127"/>
                  </a:moveTo>
                  <a:lnTo>
                    <a:pt x="385437" y="61127"/>
                  </a:lnTo>
                  <a:lnTo>
                    <a:pt x="385437" y="74710"/>
                  </a:lnTo>
                  <a:lnTo>
                    <a:pt x="67918" y="74710"/>
                  </a:lnTo>
                  <a:close/>
                  <a:moveTo>
                    <a:pt x="317518" y="142629"/>
                  </a:moveTo>
                  <a:lnTo>
                    <a:pt x="67918" y="142629"/>
                  </a:lnTo>
                  <a:lnTo>
                    <a:pt x="67918" y="129045"/>
                  </a:lnTo>
                  <a:lnTo>
                    <a:pt x="317518" y="129045"/>
                  </a:lnTo>
                  <a:close/>
                  <a:moveTo>
                    <a:pt x="426188" y="108669"/>
                  </a:moveTo>
                  <a:lnTo>
                    <a:pt x="67918" y="108669"/>
                  </a:lnTo>
                  <a:lnTo>
                    <a:pt x="67918" y="95086"/>
                  </a:lnTo>
                  <a:lnTo>
                    <a:pt x="426188" y="950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" name="Google Shape;2109;p66">
            <a:extLst>
              <a:ext uri="{FF2B5EF4-FFF2-40B4-BE49-F238E27FC236}">
                <a16:creationId xmlns:a16="http://schemas.microsoft.com/office/drawing/2014/main" id="{5E743931-1AF0-A5FC-DCE0-F1889536FDE8}"/>
              </a:ext>
            </a:extLst>
          </p:cNvPr>
          <p:cNvSpPr txBox="1"/>
          <p:nvPr/>
        </p:nvSpPr>
        <p:spPr>
          <a:xfrm>
            <a:off x="1586265" y="4351729"/>
            <a:ext cx="27840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467" dirty="0">
                <a:solidFill>
                  <a:schemeClr val="dk1"/>
                </a:solidFill>
                <a:highlight>
                  <a:srgbClr val="FFFFFF"/>
                </a:highlight>
                <a:latin typeface="+mj-lt"/>
                <a:cs typeface="Varela Round"/>
                <a:sym typeface="Lato"/>
              </a:rPr>
              <a:t>Virtual sessions including experiential activities* </a:t>
            </a:r>
          </a:p>
          <a:p>
            <a:r>
              <a:rPr lang="en-US" sz="1467" dirty="0">
                <a:solidFill>
                  <a:schemeClr val="dk1"/>
                </a:solidFill>
                <a:highlight>
                  <a:srgbClr val="FFFFFF"/>
                </a:highlight>
                <a:latin typeface="+mj-lt"/>
                <a:cs typeface="Varela Round"/>
                <a:sym typeface="Lato"/>
              </a:rPr>
              <a:t>          (June)</a:t>
            </a:r>
            <a:endParaRPr sz="1467" dirty="0">
              <a:solidFill>
                <a:schemeClr val="dk1"/>
              </a:solidFill>
              <a:highlight>
                <a:srgbClr val="FFFFFF"/>
              </a:highlight>
              <a:latin typeface="+mj-lt"/>
              <a:cs typeface="Varela Round"/>
              <a:sym typeface="Lato"/>
            </a:endParaRPr>
          </a:p>
        </p:txBody>
      </p:sp>
      <p:sp>
        <p:nvSpPr>
          <p:cNvPr id="15" name="Google Shape;2227;p68">
            <a:extLst>
              <a:ext uri="{FF2B5EF4-FFF2-40B4-BE49-F238E27FC236}">
                <a16:creationId xmlns:a16="http://schemas.microsoft.com/office/drawing/2014/main" id="{F51CEEFD-551E-754F-77F1-CA77D5B11F4A}"/>
              </a:ext>
            </a:extLst>
          </p:cNvPr>
          <p:cNvSpPr txBox="1">
            <a:spLocks/>
          </p:cNvSpPr>
          <p:nvPr/>
        </p:nvSpPr>
        <p:spPr>
          <a:xfrm>
            <a:off x="747362" y="5267888"/>
            <a:ext cx="3729437" cy="12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200" b="0" i="0" u="none" strike="noStrike" cap="none">
                <a:solidFill>
                  <a:srgbClr val="20124D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0" indent="0"/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r>
              <a:rPr lang="en-MY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Bite size sessions that cover the concepts of different conversations,</a:t>
            </a:r>
            <a:r>
              <a:rPr lang="en-US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Continuous performance management approaches, performance as an ongoing development process, rather than an annual appraisal process. </a:t>
            </a:r>
            <a:endParaRPr lang="en-US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endParaRPr lang="en-MY" sz="1050" dirty="0">
              <a:latin typeface="+mj-lt"/>
            </a:endParaRPr>
          </a:p>
        </p:txBody>
      </p:sp>
      <p:sp>
        <p:nvSpPr>
          <p:cNvPr id="16" name="Google Shape;2227;p68">
            <a:extLst>
              <a:ext uri="{FF2B5EF4-FFF2-40B4-BE49-F238E27FC236}">
                <a16:creationId xmlns:a16="http://schemas.microsoft.com/office/drawing/2014/main" id="{7C9A5132-A1F5-0B10-8787-78DEFAAB0E3D}"/>
              </a:ext>
            </a:extLst>
          </p:cNvPr>
          <p:cNvSpPr txBox="1">
            <a:spLocks/>
          </p:cNvSpPr>
          <p:nvPr/>
        </p:nvSpPr>
        <p:spPr>
          <a:xfrm>
            <a:off x="5145737" y="5040620"/>
            <a:ext cx="5703877" cy="12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200" b="0" i="0" u="none" strike="noStrike" cap="none">
                <a:solidFill>
                  <a:srgbClr val="20124D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0" indent="0"/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r>
              <a:rPr lang="en-US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An engaging and experiential concept to emphasis the importance of CPM and demonstrate the ability to add their activities , achievements and regular check ins with their employees/ Managers</a:t>
            </a:r>
          </a:p>
          <a:p>
            <a:pPr marL="0" indent="0"/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endParaRPr lang="en-MY" sz="1050" dirty="0">
              <a:latin typeface="+mj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1229739-7685-17B0-D856-EEF8F63538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0958" y="3503010"/>
            <a:ext cx="1474240" cy="82055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8D2EEDB-60E5-90A2-70B4-E803796ECFCC}"/>
              </a:ext>
            </a:extLst>
          </p:cNvPr>
          <p:cNvSpPr txBox="1"/>
          <p:nvPr/>
        </p:nvSpPr>
        <p:spPr>
          <a:xfrm>
            <a:off x="5012173" y="3188977"/>
            <a:ext cx="20854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/>
              <a:t>1. Simulation via qr code</a:t>
            </a:r>
          </a:p>
          <a:p>
            <a:endParaRPr lang="en-US" sz="11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5D4D4AF-6FB9-BB06-3A3D-6DE8461463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5826450" y="4395082"/>
            <a:ext cx="282296" cy="281047"/>
          </a:xfrm>
          <a:prstGeom prst="rect">
            <a:avLst/>
          </a:prstGeom>
        </p:spPr>
      </p:pic>
      <p:sp>
        <p:nvSpPr>
          <p:cNvPr id="21" name="Google Shape;2109;p66">
            <a:extLst>
              <a:ext uri="{FF2B5EF4-FFF2-40B4-BE49-F238E27FC236}">
                <a16:creationId xmlns:a16="http://schemas.microsoft.com/office/drawing/2014/main" id="{FA5AD18E-E48B-A1EB-EE2B-04F72356F5BE}"/>
              </a:ext>
            </a:extLst>
          </p:cNvPr>
          <p:cNvSpPr txBox="1"/>
          <p:nvPr/>
        </p:nvSpPr>
        <p:spPr>
          <a:xfrm>
            <a:off x="7358414" y="2336573"/>
            <a:ext cx="27840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467" dirty="0">
                <a:solidFill>
                  <a:schemeClr val="dk1"/>
                </a:solidFill>
                <a:highlight>
                  <a:srgbClr val="FFFFFF"/>
                </a:highlight>
                <a:latin typeface="+mj-lt"/>
                <a:cs typeface="Varela Round"/>
                <a:sym typeface="Lato"/>
              </a:rPr>
              <a:t>Session activities</a:t>
            </a:r>
            <a:endParaRPr sz="1467" dirty="0">
              <a:solidFill>
                <a:schemeClr val="dk1"/>
              </a:solidFill>
              <a:highlight>
                <a:srgbClr val="FFFFFF"/>
              </a:highlight>
              <a:latin typeface="+mj-lt"/>
              <a:cs typeface="Varela Round"/>
              <a:sym typeface="Lato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E6E1F7C-51AA-C2F7-A1F6-E5E42E7E0C7D}"/>
              </a:ext>
            </a:extLst>
          </p:cNvPr>
          <p:cNvSpPr txBox="1"/>
          <p:nvPr/>
        </p:nvSpPr>
        <p:spPr>
          <a:xfrm>
            <a:off x="2303682" y="2451612"/>
            <a:ext cx="473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b="1" dirty="0"/>
              <a:t>4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2173013-6784-C541-4629-9178691753F5}"/>
              </a:ext>
            </a:extLst>
          </p:cNvPr>
          <p:cNvCxnSpPr>
            <a:cxnSpLocks/>
          </p:cNvCxnSpPr>
          <p:nvPr/>
        </p:nvCxnSpPr>
        <p:spPr>
          <a:xfrm>
            <a:off x="4728582" y="2451612"/>
            <a:ext cx="31197" cy="4112474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E8ADC3A1-324B-A7A2-44D6-D471C97246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1748" y="3396504"/>
            <a:ext cx="1298281" cy="129251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AD53380-1651-F213-A3BE-E1C8AC0362FA}"/>
              </a:ext>
            </a:extLst>
          </p:cNvPr>
          <p:cNvSpPr txBox="1"/>
          <p:nvPr/>
        </p:nvSpPr>
        <p:spPr>
          <a:xfrm>
            <a:off x="7301046" y="3175795"/>
            <a:ext cx="200050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i="1" dirty="0"/>
              <a:t>2. Quiz on continuous PM</a:t>
            </a:r>
          </a:p>
        </p:txBody>
      </p:sp>
      <p:grpSp>
        <p:nvGrpSpPr>
          <p:cNvPr id="33" name="object 9">
            <a:extLst>
              <a:ext uri="{FF2B5EF4-FFF2-40B4-BE49-F238E27FC236}">
                <a16:creationId xmlns:a16="http://schemas.microsoft.com/office/drawing/2014/main" id="{E57B2468-4F4B-5733-E6DC-1F5091113B41}"/>
              </a:ext>
            </a:extLst>
          </p:cNvPr>
          <p:cNvGrpSpPr/>
          <p:nvPr/>
        </p:nvGrpSpPr>
        <p:grpSpPr>
          <a:xfrm>
            <a:off x="9222553" y="3459219"/>
            <a:ext cx="2783999" cy="1506719"/>
            <a:chOff x="487680" y="1107947"/>
            <a:chExt cx="10561320" cy="5180330"/>
          </a:xfrm>
        </p:grpSpPr>
        <p:pic>
          <p:nvPicPr>
            <p:cNvPr id="34" name="object 10">
              <a:extLst>
                <a:ext uri="{FF2B5EF4-FFF2-40B4-BE49-F238E27FC236}">
                  <a16:creationId xmlns:a16="http://schemas.microsoft.com/office/drawing/2014/main" id="{368D68D7-4CF7-E6D0-A2A6-A545DC0DF53C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87680" y="1286255"/>
              <a:ext cx="2959608" cy="5001768"/>
            </a:xfrm>
            <a:prstGeom prst="rect">
              <a:avLst/>
            </a:prstGeom>
          </p:spPr>
        </p:pic>
        <p:sp>
          <p:nvSpPr>
            <p:cNvPr id="35" name="object 11">
              <a:extLst>
                <a:ext uri="{FF2B5EF4-FFF2-40B4-BE49-F238E27FC236}">
                  <a16:creationId xmlns:a16="http://schemas.microsoft.com/office/drawing/2014/main" id="{B77C3A5C-15A0-E253-A994-7BC4A3D26621}"/>
                </a:ext>
              </a:extLst>
            </p:cNvPr>
            <p:cNvSpPr/>
            <p:nvPr/>
          </p:nvSpPr>
          <p:spPr>
            <a:xfrm>
              <a:off x="3808476" y="1379219"/>
              <a:ext cx="0" cy="4881245"/>
            </a:xfrm>
            <a:custGeom>
              <a:avLst/>
              <a:gdLst/>
              <a:ahLst/>
              <a:cxnLst/>
              <a:rect l="l" t="t" r="r" b="b"/>
              <a:pathLst>
                <a:path h="4881245">
                  <a:moveTo>
                    <a:pt x="0" y="0"/>
                  </a:moveTo>
                  <a:lnTo>
                    <a:pt x="0" y="4880813"/>
                  </a:lnTo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" name="object 12">
              <a:extLst>
                <a:ext uri="{FF2B5EF4-FFF2-40B4-BE49-F238E27FC236}">
                  <a16:creationId xmlns:a16="http://schemas.microsoft.com/office/drawing/2014/main" id="{E2DDB49B-2B08-2513-7C30-4FEDEB3D6845}"/>
                </a:ext>
              </a:extLst>
            </p:cNvPr>
            <p:cNvSpPr/>
            <p:nvPr/>
          </p:nvSpPr>
          <p:spPr>
            <a:xfrm>
              <a:off x="3960876" y="1107947"/>
              <a:ext cx="0" cy="5174615"/>
            </a:xfrm>
            <a:custGeom>
              <a:avLst/>
              <a:gdLst/>
              <a:ahLst/>
              <a:cxnLst/>
              <a:rect l="l" t="t" r="r" b="b"/>
              <a:pathLst>
                <a:path h="5174615">
                  <a:moveTo>
                    <a:pt x="0" y="0"/>
                  </a:moveTo>
                  <a:lnTo>
                    <a:pt x="0" y="5174081"/>
                  </a:lnTo>
                </a:path>
              </a:pathLst>
            </a:custGeom>
            <a:ln w="9144">
              <a:solidFill>
                <a:srgbClr val="CCCCCC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37" name="object 13">
              <a:extLst>
                <a:ext uri="{FF2B5EF4-FFF2-40B4-BE49-F238E27FC236}">
                  <a16:creationId xmlns:a16="http://schemas.microsoft.com/office/drawing/2014/main" id="{B86AA3C8-4AB8-F383-ACD4-88BA6F57ADFE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048512" y="2020823"/>
              <a:ext cx="2069592" cy="3681984"/>
            </a:xfrm>
            <a:prstGeom prst="rect">
              <a:avLst/>
            </a:prstGeom>
          </p:spPr>
        </p:pic>
        <p:pic>
          <p:nvPicPr>
            <p:cNvPr id="38" name="object 14">
              <a:extLst>
                <a:ext uri="{FF2B5EF4-FFF2-40B4-BE49-F238E27FC236}">
                  <a16:creationId xmlns:a16="http://schemas.microsoft.com/office/drawing/2014/main" id="{464CDF4C-BB79-2797-2D8D-585C69DA51AA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910327" y="1341119"/>
              <a:ext cx="5900928" cy="3319272"/>
            </a:xfrm>
            <a:prstGeom prst="rect">
              <a:avLst/>
            </a:prstGeom>
          </p:spPr>
        </p:pic>
        <p:pic>
          <p:nvPicPr>
            <p:cNvPr id="39" name="object 15">
              <a:extLst>
                <a:ext uri="{FF2B5EF4-FFF2-40B4-BE49-F238E27FC236}">
                  <a16:creationId xmlns:a16="http://schemas.microsoft.com/office/drawing/2014/main" id="{57117A0F-D346-76CD-C6EE-DABC141134D0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629912" y="1133855"/>
              <a:ext cx="6419088" cy="5114544"/>
            </a:xfrm>
            <a:prstGeom prst="rect">
              <a:avLst/>
            </a:prstGeom>
          </p:spPr>
        </p:pic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8A93C236-33AD-F925-2751-BB7896496D98}"/>
              </a:ext>
            </a:extLst>
          </p:cNvPr>
          <p:cNvSpPr txBox="1"/>
          <p:nvPr/>
        </p:nvSpPr>
        <p:spPr>
          <a:xfrm>
            <a:off x="9842313" y="3142961"/>
            <a:ext cx="200050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i="1" dirty="0"/>
              <a:t>3. Practical applicatio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B5A031C-38BA-B04A-E68F-22E556D12BFA}"/>
              </a:ext>
            </a:extLst>
          </p:cNvPr>
          <p:cNvSpPr txBox="1"/>
          <p:nvPr/>
        </p:nvSpPr>
        <p:spPr>
          <a:xfrm>
            <a:off x="17889" y="6245148"/>
            <a:ext cx="4458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dirty="0"/>
              <a:t>* </a:t>
            </a:r>
            <a:r>
              <a:rPr lang="en-US" sz="800" b="1" i="1" dirty="0" err="1"/>
              <a:t>Elearning</a:t>
            </a:r>
            <a:r>
              <a:rPr lang="en-US" sz="800" b="1" i="1" dirty="0"/>
              <a:t> will be a pre-course that would need to be completed prior to attending the session</a:t>
            </a:r>
          </a:p>
        </p:txBody>
      </p:sp>
    </p:spTree>
    <p:extLst>
      <p:ext uri="{BB962C8B-B14F-4D97-AF65-F5344CB8AC3E}">
        <p14:creationId xmlns:p14="http://schemas.microsoft.com/office/powerpoint/2010/main" val="3446472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AE390A88-97CA-41E9-824B-643367F317B4}" vid="{FC435FCC-79BF-4757-8FA3-D717BB23D6FE}"/>
    </a:ext>
  </a:extLst>
</a:theme>
</file>

<file path=ppt/theme/theme2.xml><?xml version="1.0" encoding="utf-8"?>
<a:theme xmlns:a="http://schemas.openxmlformats.org/drawingml/2006/main" name="72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3.xml><?xml version="1.0" encoding="utf-8"?>
<a:theme xmlns:a="http://schemas.openxmlformats.org/drawingml/2006/main" name="1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Al Futtaim_CF_DE1410 1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9DCF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CE0F54AB-BD49-4670-BA49-6C2228295003}" vid="{F18C2F0B-508A-4AE9-8804-012EFE60C81E}"/>
    </a:ext>
  </a:extLst>
</a:theme>
</file>

<file path=ppt/theme/theme4.xml><?xml version="1.0" encoding="utf-8"?>
<a:theme xmlns:a="http://schemas.openxmlformats.org/drawingml/2006/main" name="73_Al Futtaim_CF_DE1410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5.xml><?xml version="1.0" encoding="utf-8"?>
<a:theme xmlns:a="http://schemas.openxmlformats.org/drawingml/2006/main" name="Workplace 2020">
  <a:themeElements>
    <a:clrScheme name="WPM 2020 v2">
      <a:dk1>
        <a:srgbClr val="20252D"/>
      </a:dk1>
      <a:lt1>
        <a:srgbClr val="FFFFFF"/>
      </a:lt1>
      <a:dk2>
        <a:srgbClr val="20252D"/>
      </a:dk2>
      <a:lt2>
        <a:srgbClr val="FFFFFF"/>
      </a:lt2>
      <a:accent1>
        <a:srgbClr val="1F8CF7"/>
      </a:accent1>
      <a:accent2>
        <a:srgbClr val="FF645A"/>
      </a:accent2>
      <a:accent3>
        <a:srgbClr val="64D2D2"/>
      </a:accent3>
      <a:accent4>
        <a:srgbClr val="C3C077"/>
      </a:accent4>
      <a:accent5>
        <a:srgbClr val="969696"/>
      </a:accent5>
      <a:accent6>
        <a:srgbClr val="D2D2D2"/>
      </a:accent6>
      <a:hlink>
        <a:srgbClr val="1F8CF7"/>
      </a:hlink>
      <a:folHlink>
        <a:srgbClr val="64D2D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341BA87934ED4D9274635D10C15AD4" ma:contentTypeVersion="13" ma:contentTypeDescription="Create a new document." ma:contentTypeScope="" ma:versionID="c6fdce238c0b0ffe9a0477fa618e5465">
  <xsd:schema xmlns:xsd="http://www.w3.org/2001/XMLSchema" xmlns:xs="http://www.w3.org/2001/XMLSchema" xmlns:p="http://schemas.microsoft.com/office/2006/metadata/properties" xmlns:ns2="81c0dc77-60f5-4f99-bbca-b5091d896c3a" xmlns:ns3="8a59da31-eca7-495b-8729-68648cf49ba5" targetNamespace="http://schemas.microsoft.com/office/2006/metadata/properties" ma:root="true" ma:fieldsID="999cf0686217edc6f203c01d481628e0" ns2:_="" ns3:_="">
    <xsd:import namespace="81c0dc77-60f5-4f99-bbca-b5091d896c3a"/>
    <xsd:import namespace="8a59da31-eca7-495b-8729-68648cf49b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c0dc77-60f5-4f99-bbca-b5091d896c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ff333aa0-1660-4a69-b487-86ecbf4b4bc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59da31-eca7-495b-8729-68648cf49ba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a2dc7382-b0bb-456d-a7f3-98e65e6a9c45}" ma:internalName="TaxCatchAll" ma:showField="CatchAllData" ma:web="8a59da31-eca7-495b-8729-68648cf49b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1c0dc77-60f5-4f99-bbca-b5091d896c3a">
      <Terms xmlns="http://schemas.microsoft.com/office/infopath/2007/PartnerControls"/>
    </lcf76f155ced4ddcb4097134ff3c332f>
    <TaxCatchAll xmlns="8a59da31-eca7-495b-8729-68648cf49ba5" xsi:nil="true"/>
  </documentManagement>
</p:properties>
</file>

<file path=customXml/itemProps1.xml><?xml version="1.0" encoding="utf-8"?>
<ds:datastoreItem xmlns:ds="http://schemas.openxmlformats.org/officeDocument/2006/customXml" ds:itemID="{3CFD17E9-E1C8-4409-B62F-8DFA70EE2953}"/>
</file>

<file path=customXml/itemProps2.xml><?xml version="1.0" encoding="utf-8"?>
<ds:datastoreItem xmlns:ds="http://schemas.openxmlformats.org/officeDocument/2006/customXml" ds:itemID="{E618DA95-123D-462E-9428-3382DF82551E}"/>
</file>

<file path=customXml/itemProps3.xml><?xml version="1.0" encoding="utf-8"?>
<ds:datastoreItem xmlns:ds="http://schemas.openxmlformats.org/officeDocument/2006/customXml" ds:itemID="{4316D6FA-3B37-4C99-9304-770EF29493B4}"/>
</file>

<file path=docProps/app.xml><?xml version="1.0" encoding="utf-8"?>
<Properties xmlns="http://schemas.openxmlformats.org/officeDocument/2006/extended-properties" xmlns:vt="http://schemas.openxmlformats.org/officeDocument/2006/docPropsVTypes">
  <TotalTime>5050</TotalTime>
  <Words>1574</Words>
  <Application>Microsoft Office PowerPoint</Application>
  <PresentationFormat>Widescreen</PresentationFormat>
  <Paragraphs>434</Paragraphs>
  <Slides>19</Slides>
  <Notes>1</Notes>
  <HiddenSlides>9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5" baseType="lpstr">
      <vt:lpstr>Arial</vt:lpstr>
      <vt:lpstr>Arial MT</vt:lpstr>
      <vt:lpstr>Calibri</vt:lpstr>
      <vt:lpstr>FreightSansLFPro Lig</vt:lpstr>
      <vt:lpstr>Mukta</vt:lpstr>
      <vt:lpstr>Mukta ExtraLight</vt:lpstr>
      <vt:lpstr>Mukta Light</vt:lpstr>
      <vt:lpstr>Muli</vt:lpstr>
      <vt:lpstr>Roboto Condensed Light</vt:lpstr>
      <vt:lpstr>Varela Round</vt:lpstr>
      <vt:lpstr>Al Futtaim_CF_DE1410</vt:lpstr>
      <vt:lpstr>72_Al Futtaim_CF_DE1410</vt:lpstr>
      <vt:lpstr>1_Al Futtaim_CF_DE1410</vt:lpstr>
      <vt:lpstr>73_Al Futtaim_CF_DE1410</vt:lpstr>
      <vt:lpstr>Workplace 2020</vt:lpstr>
      <vt:lpstr>think-cell Slide</vt:lpstr>
      <vt:lpstr>CPM &amp; IDP campaign/plan </vt:lpstr>
      <vt:lpstr>Traditional PM vs Flexible PM approach</vt:lpstr>
      <vt:lpstr>PowerPoint Presentation</vt:lpstr>
      <vt:lpstr>PowerPoint Presentation</vt:lpstr>
      <vt:lpstr>Let’s Reflect on the current process</vt:lpstr>
      <vt:lpstr>So how do we communicate the value of CPM? Sell it internally to all our employees   </vt:lpstr>
      <vt:lpstr>CPM Plan Overview</vt:lpstr>
      <vt:lpstr>Campaign unpacked- Communication</vt:lpstr>
      <vt:lpstr>Campaign unpacked- Enablement sessions</vt:lpstr>
      <vt:lpstr>CPM Plan Overview</vt:lpstr>
      <vt:lpstr>Emirati Development campaign/plan </vt:lpstr>
      <vt:lpstr>2023 Adoption and Application for Emirati Employees  </vt:lpstr>
      <vt:lpstr>Emirati Personal Growth Framework Plan</vt:lpstr>
      <vt:lpstr>Draft Seminar Agenda</vt:lpstr>
      <vt:lpstr>Emerging Leaders plan </vt:lpstr>
      <vt:lpstr>PowerPoint Presentation</vt:lpstr>
      <vt:lpstr>Appendix</vt:lpstr>
      <vt:lpstr>PowerPoint Presentation</vt:lpstr>
      <vt:lpstr>Two approaches to better manager engagement</vt:lpstr>
    </vt:vector>
  </TitlesOfParts>
  <Company>ALFUTTAIM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otive Awards &amp; Recognition Program Jan 2022</dc:title>
  <dc:creator>Shaheen Lakdawalla</dc:creator>
  <cp:lastModifiedBy>Shaheen Lakdawalla</cp:lastModifiedBy>
  <cp:revision>47</cp:revision>
  <dcterms:created xsi:type="dcterms:W3CDTF">2023-04-03T07:49:08Z</dcterms:created>
  <dcterms:modified xsi:type="dcterms:W3CDTF">2023-04-11T08:5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341BA87934ED4D9274635D10C15AD4</vt:lpwstr>
  </property>
</Properties>
</file>